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ink/ink35.xml" ContentType="application/inkml+xml"/>
  <Override PartName="/ppt/ink/ink36.xml" ContentType="application/inkml+xml"/>
  <Override PartName="/ppt/ink/ink37.xml" ContentType="application/inkml+xml"/>
  <Override PartName="/ppt/ink/ink38.xml" ContentType="application/inkml+xml"/>
  <Override PartName="/ppt/ink/ink39.xml" ContentType="application/inkml+xml"/>
  <Override PartName="/ppt/ink/ink40.xml" ContentType="application/inkml+xml"/>
  <Override PartName="/ppt/ink/ink41.xml" ContentType="application/inkml+xml"/>
  <Override PartName="/ppt/ink/ink42.xml" ContentType="application/inkml+xml"/>
  <Override PartName="/ppt/ink/ink43.xml" ContentType="application/inkml+xml"/>
  <Override PartName="/ppt/ink/ink44.xml" ContentType="application/inkml+xml"/>
  <Override PartName="/ppt/ink/ink45.xml" ContentType="application/inkml+xml"/>
  <Override PartName="/ppt/ink/ink46.xml" ContentType="application/inkml+xml"/>
  <Override PartName="/ppt/ink/ink47.xml" ContentType="application/inkml+xml"/>
  <Override PartName="/ppt/ink/ink48.xml" ContentType="application/inkml+xml"/>
  <Override PartName="/ppt/ink/ink49.xml" ContentType="application/inkml+xml"/>
  <Override PartName="/ppt/ink/ink50.xml" ContentType="application/inkml+xml"/>
  <Override PartName="/ppt/ink/ink51.xml" ContentType="application/inkml+xml"/>
  <Override PartName="/ppt/ink/ink52.xml" ContentType="application/inkml+xml"/>
  <Override PartName="/ppt/ink/ink53.xml" ContentType="application/inkml+xml"/>
  <Override PartName="/ppt/ink/ink54.xml" ContentType="application/inkml+xml"/>
  <Override PartName="/ppt/ink/ink55.xml" ContentType="application/inkml+xml"/>
  <Override PartName="/ppt/ink/ink56.xml" ContentType="application/inkml+xml"/>
  <Override PartName="/ppt/ink/ink57.xml" ContentType="application/inkml+xml"/>
  <Override PartName="/ppt/ink/ink58.xml" ContentType="application/inkml+xml"/>
  <Override PartName="/ppt/ink/ink59.xml" ContentType="application/inkml+xml"/>
  <Override PartName="/ppt/ink/ink60.xml" ContentType="application/inkml+xml"/>
  <Override PartName="/ppt/ink/ink61.xml" ContentType="application/inkml+xml"/>
  <Override PartName="/ppt/ink/ink62.xml" ContentType="application/inkml+xml"/>
  <Override PartName="/ppt/ink/ink63.xml" ContentType="application/inkml+xml"/>
  <Override PartName="/ppt/ink/ink64.xml" ContentType="application/inkml+xml"/>
  <Override PartName="/ppt/ink/ink65.xml" ContentType="application/inkml+xml"/>
  <Override PartName="/ppt/ink/ink66.xml" ContentType="application/inkml+xml"/>
  <Override PartName="/ppt/ink/ink67.xml" ContentType="application/inkml+xml"/>
  <Override PartName="/ppt/ink/ink68.xml" ContentType="application/inkml+xml"/>
  <Override PartName="/ppt/ink/ink69.xml" ContentType="application/inkml+xml"/>
  <Override PartName="/ppt/ink/ink70.xml" ContentType="application/inkml+xml"/>
  <Override PartName="/ppt/ink/ink71.xml" ContentType="application/inkml+xml"/>
  <Override PartName="/ppt/ink/ink72.xml" ContentType="application/inkml+xml"/>
  <Override PartName="/ppt/ink/ink73.xml" ContentType="application/inkml+xml"/>
  <Override PartName="/ppt/ink/ink74.xml" ContentType="application/inkml+xml"/>
  <Override PartName="/ppt/ink/ink75.xml" ContentType="application/inkml+xml"/>
  <Override PartName="/ppt/ink/ink76.xml" ContentType="application/inkml+xml"/>
  <Override PartName="/ppt/ink/ink77.xml" ContentType="application/inkml+xml"/>
  <Override PartName="/ppt/ink/ink78.xml" ContentType="application/inkml+xml"/>
  <Override PartName="/ppt/ink/ink79.xml" ContentType="application/inkml+xml"/>
  <Override PartName="/ppt/ink/ink80.xml" ContentType="application/inkml+xml"/>
  <Override PartName="/ppt/ink/ink81.xml" ContentType="application/inkml+xml"/>
  <Override PartName="/ppt/ink/ink82.xml" ContentType="application/inkml+xml"/>
  <Override PartName="/ppt/ink/ink83.xml" ContentType="application/inkml+xml"/>
  <Override PartName="/ppt/ink/ink84.xml" ContentType="application/inkml+xml"/>
  <Override PartName="/ppt/ink/ink85.xml" ContentType="application/inkml+xml"/>
  <Override PartName="/ppt/ink/ink86.xml" ContentType="application/inkml+xml"/>
  <Override PartName="/ppt/ink/ink87.xml" ContentType="application/inkml+xml"/>
  <Override PartName="/ppt/ink/ink88.xml" ContentType="application/inkml+xml"/>
  <Override PartName="/ppt/ink/ink89.xml" ContentType="application/inkml+xml"/>
  <Override PartName="/ppt/ink/ink90.xml" ContentType="application/inkml+xml"/>
  <Override PartName="/ppt/ink/ink91.xml" ContentType="application/inkml+xml"/>
  <Override PartName="/ppt/ink/ink92.xml" ContentType="application/inkml+xml"/>
  <Override PartName="/ppt/ink/ink93.xml" ContentType="application/inkml+xml"/>
  <Override PartName="/ppt/ink/ink94.xml" ContentType="application/inkml+xml"/>
  <Override PartName="/ppt/ink/ink95.xml" ContentType="application/inkml+xml"/>
  <Override PartName="/ppt/ink/ink96.xml" ContentType="application/inkml+xml"/>
  <Override PartName="/ppt/ink/ink97.xml" ContentType="application/inkml+xml"/>
  <Override PartName="/ppt/ink/ink98.xml" ContentType="application/inkml+xml"/>
  <Override PartName="/ppt/ink/ink99.xml" ContentType="application/inkml+xml"/>
  <Override PartName="/ppt/ink/ink100.xml" ContentType="application/inkml+xml"/>
  <Override PartName="/ppt/ink/ink101.xml" ContentType="application/inkml+xml"/>
  <Override PartName="/ppt/ink/ink102.xml" ContentType="application/inkml+xml"/>
  <Override PartName="/ppt/ink/ink103.xml" ContentType="application/inkml+xml"/>
  <Override PartName="/ppt/ink/ink104.xml" ContentType="application/inkml+xml"/>
  <Override PartName="/ppt/ink/ink105.xml" ContentType="application/inkml+xml"/>
  <Override PartName="/ppt/ink/ink106.xml" ContentType="application/inkml+xml"/>
  <Override PartName="/ppt/ink/ink107.xml" ContentType="application/inkml+xml"/>
  <Override PartName="/ppt/ink/ink108.xml" ContentType="application/inkml+xml"/>
  <Override PartName="/ppt/ink/ink109.xml" ContentType="application/inkml+xml"/>
  <Override PartName="/ppt/ink/ink110.xml" ContentType="application/inkml+xml"/>
  <Override PartName="/ppt/ink/ink111.xml" ContentType="application/inkml+xml"/>
  <Override PartName="/ppt/ink/ink112.xml" ContentType="application/inkml+xml"/>
  <Override PartName="/ppt/ink/ink113.xml" ContentType="application/inkml+xml"/>
  <Override PartName="/ppt/ink/ink114.xml" ContentType="application/inkml+xml"/>
  <Override PartName="/ppt/ink/ink115.xml" ContentType="application/inkml+xml"/>
  <Override PartName="/ppt/ink/ink116.xml" ContentType="application/inkml+xml"/>
  <Override PartName="/ppt/ink/ink117.xml" ContentType="application/inkml+xml"/>
  <Override PartName="/ppt/ink/ink118.xml" ContentType="application/inkml+xml"/>
  <Override PartName="/ppt/ink/ink119.xml" ContentType="application/inkml+xml"/>
  <Override PartName="/ppt/ink/ink120.xml" ContentType="application/inkml+xml"/>
  <Override PartName="/ppt/ink/ink121.xml" ContentType="application/inkml+xml"/>
  <Override PartName="/ppt/ink/ink122.xml" ContentType="application/inkml+xml"/>
  <Override PartName="/ppt/ink/ink123.xml" ContentType="application/inkml+xml"/>
  <Override PartName="/ppt/ink/ink124.xml" ContentType="application/inkml+xml"/>
  <Override PartName="/ppt/ink/ink125.xml" ContentType="application/inkml+xml"/>
  <Override PartName="/ppt/ink/ink126.xml" ContentType="application/inkml+xml"/>
  <Override PartName="/ppt/ink/ink127.xml" ContentType="application/inkml+xml"/>
  <Override PartName="/ppt/ink/ink128.xml" ContentType="application/inkml+xml"/>
  <Override PartName="/ppt/ink/ink129.xml" ContentType="application/inkml+xml"/>
  <Override PartName="/ppt/ink/ink130.xml" ContentType="application/inkml+xml"/>
  <Override PartName="/ppt/ink/ink131.xml" ContentType="application/inkml+xml"/>
  <Override PartName="/ppt/ink/ink132.xml" ContentType="application/inkml+xml"/>
  <Override PartName="/ppt/ink/ink133.xml" ContentType="application/inkml+xml"/>
  <Override PartName="/ppt/ink/ink134.xml" ContentType="application/inkml+xml"/>
  <Override PartName="/ppt/ink/ink135.xml" ContentType="application/inkml+xml"/>
  <Override PartName="/ppt/ink/ink136.xml" ContentType="application/inkml+xml"/>
  <Override PartName="/ppt/ink/ink137.xml" ContentType="application/inkml+xml"/>
  <Override PartName="/ppt/ink/ink138.xml" ContentType="application/inkml+xml"/>
  <Override PartName="/ppt/ink/ink139.xml" ContentType="application/inkml+xml"/>
  <Override PartName="/ppt/ink/ink140.xml" ContentType="application/inkml+xml"/>
  <Override PartName="/ppt/ink/ink141.xml" ContentType="application/inkml+xml"/>
  <Override PartName="/ppt/ink/ink142.xml" ContentType="application/inkml+xml"/>
  <Override PartName="/ppt/ink/ink143.xml" ContentType="application/inkml+xml"/>
  <Override PartName="/ppt/ink/ink144.xml" ContentType="application/inkml+xml"/>
  <Override PartName="/ppt/ink/ink145.xml" ContentType="application/inkml+xml"/>
  <Override PartName="/ppt/ink/ink146.xml" ContentType="application/inkml+xml"/>
  <Override PartName="/ppt/ink/ink147.xml" ContentType="application/inkml+xml"/>
  <Override PartName="/ppt/ink/ink148.xml" ContentType="application/inkml+xml"/>
  <Override PartName="/ppt/ink/ink149.xml" ContentType="application/inkml+xml"/>
  <Override PartName="/ppt/ink/ink150.xml" ContentType="application/inkml+xml"/>
  <Override PartName="/ppt/ink/ink151.xml" ContentType="application/inkml+xml"/>
  <Override PartName="/ppt/ink/ink152.xml" ContentType="application/inkml+xml"/>
  <Override PartName="/ppt/ink/ink153.xml" ContentType="application/inkml+xml"/>
  <Override PartName="/ppt/ink/ink154.xml" ContentType="application/inkml+xml"/>
  <Override PartName="/ppt/ink/ink155.xml" ContentType="application/inkml+xml"/>
  <Override PartName="/ppt/ink/ink156.xml" ContentType="application/inkml+xml"/>
  <Override PartName="/ppt/ink/ink157.xml" ContentType="application/inkml+xml"/>
  <Override PartName="/ppt/ink/ink158.xml" ContentType="application/inkml+xml"/>
  <Override PartName="/ppt/ink/ink159.xml" ContentType="application/inkml+xml"/>
  <Override PartName="/ppt/tags/tag4.xml" ContentType="application/vnd.openxmlformats-officedocument.presentationml.tags+xml"/>
  <Override PartName="/ppt/ink/ink160.xml" ContentType="application/inkml+xml"/>
  <Override PartName="/ppt/ink/ink161.xml" ContentType="application/inkml+xml"/>
  <Override PartName="/ppt/ink/ink162.xml" ContentType="application/inkml+xml"/>
  <Override PartName="/ppt/ink/ink163.xml" ContentType="application/inkml+xml"/>
  <Override PartName="/ppt/ink/ink164.xml" ContentType="application/inkml+xml"/>
  <Override PartName="/ppt/ink/ink165.xml" ContentType="application/inkml+xml"/>
  <Override PartName="/ppt/ink/ink166.xml" ContentType="application/inkml+xml"/>
  <Override PartName="/ppt/ink/ink167.xml" ContentType="application/inkml+xml"/>
  <Override PartName="/ppt/ink/ink168.xml" ContentType="application/inkml+xml"/>
  <Override PartName="/ppt/ink/ink169.xml" ContentType="application/inkml+xml"/>
  <Override PartName="/ppt/ink/ink170.xml" ContentType="application/inkml+xml"/>
  <Override PartName="/ppt/ink/ink171.xml" ContentType="application/inkml+xml"/>
  <Override PartName="/ppt/ink/ink172.xml" ContentType="application/inkml+xml"/>
  <Override PartName="/ppt/ink/ink173.xml" ContentType="application/inkml+xml"/>
  <Override PartName="/ppt/ink/ink174.xml" ContentType="application/inkml+xml"/>
  <Override PartName="/ppt/ink/ink175.xml" ContentType="application/inkml+xml"/>
  <Override PartName="/ppt/ink/ink176.xml" ContentType="application/inkml+xml"/>
  <Override PartName="/ppt/ink/ink177.xml" ContentType="application/inkml+xml"/>
  <Override PartName="/ppt/ink/ink178.xml" ContentType="application/inkml+xml"/>
  <Override PartName="/ppt/ink/ink179.xml" ContentType="application/inkml+xml"/>
  <Override PartName="/ppt/ink/ink180.xml" ContentType="application/inkml+xml"/>
  <Override PartName="/ppt/ink/ink181.xml" ContentType="application/inkml+xml"/>
  <Override PartName="/ppt/ink/ink182.xml" ContentType="application/inkml+xml"/>
  <Override PartName="/ppt/ink/ink183.xml" ContentType="application/inkml+xml"/>
  <Override PartName="/ppt/ink/ink184.xml" ContentType="application/inkml+xml"/>
  <Override PartName="/ppt/ink/ink185.xml" ContentType="application/inkml+xml"/>
  <Override PartName="/ppt/ink/ink186.xml" ContentType="application/inkml+xml"/>
  <Override PartName="/ppt/ink/ink187.xml" ContentType="application/inkml+xml"/>
  <Override PartName="/ppt/ink/ink188.xml" ContentType="application/inkml+xml"/>
  <Override PartName="/ppt/ink/ink189.xml" ContentType="application/inkml+xml"/>
  <Override PartName="/ppt/ink/ink190.xml" ContentType="application/inkml+xml"/>
  <Override PartName="/ppt/ink/ink191.xml" ContentType="application/inkml+xml"/>
  <Override PartName="/ppt/ink/ink192.xml" ContentType="application/inkml+xml"/>
  <Override PartName="/ppt/ink/ink193.xml" ContentType="application/inkml+xml"/>
  <Override PartName="/ppt/ink/ink194.xml" ContentType="application/inkml+xml"/>
  <Override PartName="/ppt/ink/ink195.xml" ContentType="application/inkml+xml"/>
  <Override PartName="/ppt/ink/ink196.xml" ContentType="application/inkml+xml"/>
  <Override PartName="/ppt/ink/ink197.xml" ContentType="application/inkml+xml"/>
  <Override PartName="/ppt/ink/ink198.xml" ContentType="application/inkml+xml"/>
  <Override PartName="/ppt/ink/ink199.xml" ContentType="application/inkml+xml"/>
  <Override PartName="/ppt/ink/ink200.xml" ContentType="application/inkml+xml"/>
  <Override PartName="/ppt/ink/ink201.xml" ContentType="application/inkml+xml"/>
  <Override PartName="/ppt/ink/ink202.xml" ContentType="application/inkml+xml"/>
  <Override PartName="/ppt/ink/ink203.xml" ContentType="application/inkml+xml"/>
  <Override PartName="/ppt/ink/ink204.xml" ContentType="application/inkml+xml"/>
  <Override PartName="/ppt/ink/ink205.xml" ContentType="application/inkml+xml"/>
  <Override PartName="/ppt/ink/ink206.xml" ContentType="application/inkml+xml"/>
  <Override PartName="/ppt/ink/ink207.xml" ContentType="application/inkml+xml"/>
  <Override PartName="/ppt/ink/ink208.xml" ContentType="application/inkml+xml"/>
  <Override PartName="/ppt/ink/ink209.xml" ContentType="application/inkml+xml"/>
  <Override PartName="/ppt/ink/ink210.xml" ContentType="application/inkml+xml"/>
  <Override PartName="/ppt/ink/ink211.xml" ContentType="application/inkml+xml"/>
  <Override PartName="/ppt/ink/ink212.xml" ContentType="application/inkml+xml"/>
  <Override PartName="/ppt/ink/ink213.xml" ContentType="application/inkml+xml"/>
  <Override PartName="/ppt/ink/ink214.xml" ContentType="application/inkml+xml"/>
  <Override PartName="/ppt/ink/ink215.xml" ContentType="application/inkml+xml"/>
  <Override PartName="/ppt/ink/ink216.xml" ContentType="application/inkml+xml"/>
  <Override PartName="/ppt/ink/ink217.xml" ContentType="application/inkml+xml"/>
  <Override PartName="/ppt/ink/ink218.xml" ContentType="application/inkml+xml"/>
  <Override PartName="/ppt/ink/ink219.xml" ContentType="application/inkml+xml"/>
  <Override PartName="/ppt/ink/ink220.xml" ContentType="application/inkml+xml"/>
  <Override PartName="/ppt/ink/ink221.xml" ContentType="application/inkml+xml"/>
  <Override PartName="/ppt/ink/ink222.xml" ContentType="application/inkml+xml"/>
  <Override PartName="/ppt/ink/ink223.xml" ContentType="application/inkml+xml"/>
  <Override PartName="/ppt/ink/ink224.xml" ContentType="application/inkml+xml"/>
  <Override PartName="/ppt/ink/ink225.xml" ContentType="application/inkml+xml"/>
  <Override PartName="/ppt/ink/ink226.xml" ContentType="application/inkml+xml"/>
  <Override PartName="/ppt/ink/ink227.xml" ContentType="application/inkml+xml"/>
  <Override PartName="/ppt/ink/ink228.xml" ContentType="application/inkml+xml"/>
  <Override PartName="/ppt/ink/ink229.xml" ContentType="application/inkml+xml"/>
  <Override PartName="/ppt/ink/ink230.xml" ContentType="application/inkml+xml"/>
  <Override PartName="/ppt/ink/ink231.xml" ContentType="application/inkml+xml"/>
  <Override PartName="/ppt/ink/ink232.xml" ContentType="application/inkml+xml"/>
  <Override PartName="/ppt/ink/ink233.xml" ContentType="application/inkml+xml"/>
  <Override PartName="/ppt/ink/ink234.xml" ContentType="application/inkml+xml"/>
  <Override PartName="/ppt/ink/ink235.xml" ContentType="application/inkml+xml"/>
  <Override PartName="/ppt/ink/ink236.xml" ContentType="application/inkml+xml"/>
  <Override PartName="/ppt/ink/ink237.xml" ContentType="application/inkml+xml"/>
  <Override PartName="/ppt/ink/ink238.xml" ContentType="application/inkml+xml"/>
  <Override PartName="/ppt/ink/ink239.xml" ContentType="application/inkml+xml"/>
  <Override PartName="/ppt/ink/ink240.xml" ContentType="application/inkml+xml"/>
  <Override PartName="/ppt/ink/ink241.xml" ContentType="application/inkml+xml"/>
  <Override PartName="/ppt/ink/ink242.xml" ContentType="application/inkml+xml"/>
  <Override PartName="/ppt/ink/ink243.xml" ContentType="application/inkml+xml"/>
  <Override PartName="/ppt/ink/ink244.xml" ContentType="application/inkml+xml"/>
  <Override PartName="/ppt/ink/ink245.xml" ContentType="application/inkml+xml"/>
  <Override PartName="/ppt/ink/ink246.xml" ContentType="application/inkml+xml"/>
  <Override PartName="/ppt/ink/ink247.xml" ContentType="application/inkml+xml"/>
  <Override PartName="/ppt/ink/ink248.xml" ContentType="application/inkml+xml"/>
  <Override PartName="/ppt/ink/ink249.xml" ContentType="application/inkml+xml"/>
  <Override PartName="/ppt/ink/ink250.xml" ContentType="application/inkml+xml"/>
  <Override PartName="/ppt/ink/ink251.xml" ContentType="application/inkml+xml"/>
  <Override PartName="/ppt/ink/ink252.xml" ContentType="application/inkml+xml"/>
  <Override PartName="/ppt/ink/ink253.xml" ContentType="application/inkml+xml"/>
  <Override PartName="/ppt/ink/ink254.xml" ContentType="application/inkml+xml"/>
  <Override PartName="/ppt/ink/ink255.xml" ContentType="application/inkml+xml"/>
  <Override PartName="/ppt/ink/ink256.xml" ContentType="application/inkml+xml"/>
  <Override PartName="/ppt/ink/ink257.xml" ContentType="application/inkml+xml"/>
  <Override PartName="/ppt/ink/ink258.xml" ContentType="application/inkml+xml"/>
  <Override PartName="/ppt/ink/ink259.xml" ContentType="application/inkml+xml"/>
  <Override PartName="/ppt/ink/ink260.xml" ContentType="application/inkml+xml"/>
  <Override PartName="/ppt/ink/ink261.xml" ContentType="application/inkml+xml"/>
  <Override PartName="/ppt/ink/ink262.xml" ContentType="application/inkml+xml"/>
  <Override PartName="/ppt/ink/ink263.xml" ContentType="application/inkml+xml"/>
  <Override PartName="/ppt/ink/ink264.xml" ContentType="application/inkml+xml"/>
  <Override PartName="/ppt/ink/ink265.xml" ContentType="application/inkml+xml"/>
  <Override PartName="/ppt/ink/ink266.xml" ContentType="application/inkml+xml"/>
  <Override PartName="/ppt/ink/ink267.xml" ContentType="application/inkml+xml"/>
  <Override PartName="/ppt/ink/ink268.xml" ContentType="application/inkml+xml"/>
  <Override PartName="/ppt/ink/ink269.xml" ContentType="application/inkml+xml"/>
  <Override PartName="/ppt/ink/ink270.xml" ContentType="application/inkml+xml"/>
  <Override PartName="/ppt/ink/ink271.xml" ContentType="application/inkml+xml"/>
  <Override PartName="/ppt/ink/ink272.xml" ContentType="application/inkml+xml"/>
  <Override PartName="/ppt/ink/ink273.xml" ContentType="application/inkml+xml"/>
  <Override PartName="/ppt/ink/ink274.xml" ContentType="application/inkml+xml"/>
  <Override PartName="/ppt/ink/ink275.xml" ContentType="application/inkml+xml"/>
  <Override PartName="/ppt/ink/ink276.xml" ContentType="application/inkml+xml"/>
  <Override PartName="/ppt/ink/ink277.xml" ContentType="application/inkml+xml"/>
  <Override PartName="/ppt/ink/ink278.xml" ContentType="application/inkml+xml"/>
  <Override PartName="/ppt/ink/ink279.xml" ContentType="application/inkml+xml"/>
  <Override PartName="/ppt/ink/ink280.xml" ContentType="application/inkml+xml"/>
  <Override PartName="/ppt/ink/ink281.xml" ContentType="application/inkml+xml"/>
  <Override PartName="/ppt/ink/ink282.xml" ContentType="application/inkml+xml"/>
  <Override PartName="/ppt/ink/ink283.xml" ContentType="application/inkml+xml"/>
  <Override PartName="/ppt/ink/ink284.xml" ContentType="application/inkml+xml"/>
  <Override PartName="/ppt/ink/ink285.xml" ContentType="application/inkml+xml"/>
  <Override PartName="/ppt/ink/ink286.xml" ContentType="application/inkml+xml"/>
  <Override PartName="/ppt/ink/ink287.xml" ContentType="application/inkml+xml"/>
  <Override PartName="/ppt/ink/ink288.xml" ContentType="application/inkml+xml"/>
  <Override PartName="/ppt/ink/ink289.xml" ContentType="application/inkml+xml"/>
  <Override PartName="/ppt/ink/ink290.xml" ContentType="application/inkml+xml"/>
  <Override PartName="/ppt/ink/ink291.xml" ContentType="application/inkml+xml"/>
  <Override PartName="/ppt/ink/ink292.xml" ContentType="application/inkml+xml"/>
  <Override PartName="/ppt/ink/ink293.xml" ContentType="application/inkml+xml"/>
  <Override PartName="/ppt/ink/ink294.xml" ContentType="application/inkml+xml"/>
  <Override PartName="/ppt/ink/ink295.xml" ContentType="application/inkml+xml"/>
  <Override PartName="/ppt/ink/ink296.xml" ContentType="application/inkml+xml"/>
  <Override PartName="/ppt/ink/ink297.xml" ContentType="application/inkml+xml"/>
  <Override PartName="/ppt/ink/ink298.xml" ContentType="application/inkml+xml"/>
  <Override PartName="/ppt/ink/ink299.xml" ContentType="application/inkml+xml"/>
  <Override PartName="/ppt/ink/ink300.xml" ContentType="application/inkml+xml"/>
  <Override PartName="/ppt/ink/ink301.xml" ContentType="application/inkml+xml"/>
  <Override PartName="/ppt/ink/ink302.xml" ContentType="application/inkml+xml"/>
  <Override PartName="/ppt/ink/ink303.xml" ContentType="application/inkml+xml"/>
  <Override PartName="/ppt/ink/ink304.xml" ContentType="application/inkml+xml"/>
  <Override PartName="/ppt/ink/ink305.xml" ContentType="application/inkml+xml"/>
  <Override PartName="/ppt/ink/ink306.xml" ContentType="application/inkml+xml"/>
  <Override PartName="/ppt/ink/ink307.xml" ContentType="application/inkml+xml"/>
  <Override PartName="/ppt/ink/ink308.xml" ContentType="application/inkml+xml"/>
  <Override PartName="/ppt/ink/ink309.xml" ContentType="application/inkml+xml"/>
  <Override PartName="/ppt/ink/ink310.xml" ContentType="application/inkml+xml"/>
  <Override PartName="/ppt/ink/ink311.xml" ContentType="application/inkml+xml"/>
  <Override PartName="/ppt/ink/ink312.xml" ContentType="application/inkml+xml"/>
  <Override PartName="/ppt/ink/ink313.xml" ContentType="application/inkml+xml"/>
  <Override PartName="/ppt/ink/ink314.xml" ContentType="application/inkml+xml"/>
  <Override PartName="/ppt/ink/ink315.xml" ContentType="application/inkml+xml"/>
  <Override PartName="/ppt/ink/ink316.xml" ContentType="application/inkml+xml"/>
  <Override PartName="/ppt/ink/ink317.xml" ContentType="application/inkml+xml"/>
  <Override PartName="/ppt/ink/ink318.xml" ContentType="application/inkml+xml"/>
  <Override PartName="/ppt/ink/ink319.xml" ContentType="application/inkml+xml"/>
  <Override PartName="/ppt/ink/ink320.xml" ContentType="application/inkml+xml"/>
  <Override PartName="/ppt/ink/ink321.xml" ContentType="application/inkml+xml"/>
  <Override PartName="/ppt/ink/ink322.xml" ContentType="application/inkml+xml"/>
  <Override PartName="/ppt/ink/ink323.xml" ContentType="application/inkml+xml"/>
  <Override PartName="/ppt/ink/ink324.xml" ContentType="application/inkml+xml"/>
  <Override PartName="/ppt/ink/ink325.xml" ContentType="application/inkml+xml"/>
  <Override PartName="/ppt/ink/ink326.xml" ContentType="application/inkml+xml"/>
  <Override PartName="/ppt/ink/ink32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566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5.3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368 8 0 0,'1'-14'114'0'0,"0"1"1"0"0,1 0-1 0 0,0 0 0 0 0,8-25 1 0 0,24-48 723 0 0,-23 64 348 0 0,1-1 0 0 0,23-34-1 0 0,-29 49-697 0 0,1 0 0 0 0,0 0 0 0 0,0 0 0 0 0,0 1 0 0 0,1 0 0 0 0,0 0 0 0 0,1 1-1 0 0,-1 0 1 0 0,11-5 0 0 0,-15 9-297 0 0,-1 0-1 0 0,1 1 1 0 0,-1-1 0 0 0,1 1-1 0 0,0 0 1 0 0,-1 0-1 0 0,1 0 1 0 0,0 0 0 0 0,0 1-1 0 0,0 0 1 0 0,0-1 0 0 0,-1 2-1 0 0,1-1 1 0 0,5 1-1 0 0,-4 0 25 0 0,0 0-1 0 0,0 1 0 0 0,-1 0 0 0 0,1 0 0 0 0,0 0 1 0 0,7 5-1 0 0,-10-5-68 0 0,1 0 0 0 0,-1 0 0 0 0,1 1 0 0 0,-1-1 0 0 0,0 1 0 0 0,0-1 0 0 0,0 1 0 0 0,0 0 0 0 0,-1 0 0 0 0,3 5 0 0 0,-2-4-54 0 0,-1 0 0 0 0,0 0-1 0 0,-1 0 1 0 0,1 0-1 0 0,-1 0 1 0 0,1 0-1 0 0,-1 1 1 0 0,-1 6 0 0 0,0 0 58 0 0,-6 20 0 0 0,-64 183 268 0 0,60-183-364 0 0,-26 70 177 0 0,-34 98 719 0 0,55-145-154 0 0,-16 96-1 0 0,29-127-646 0 0,1 0-1 0 0,1 0 1 0 0,1 0-1 0 0,1 1 1 0 0,7 41-1 0 0,-5-51-122 0 0,0-1 0 0 0,1 0 0 0 0,1 0 0 0 0,-1-1 0 0 0,2 1 0 0 0,0-1 0 0 0,1 0-1 0 0,0 0 1 0 0,0-1 0 0 0,1 0 0 0 0,13 13 0 0 0,-17-20-22 0 0,-1-1 0 0 0,0 0 1 0 0,1 0-1 0 0,0 0 0 0 0,0 0 0 0 0,0-1 0 0 0,0 1 0 0 0,0-1 1 0 0,0 0-1 0 0,1 0 0 0 0,-1-1 0 0 0,1 1 0 0 0,-1-1 1 0 0,1 0-1 0 0,-1 0 0 0 0,1 0 0 0 0,0-1 0 0 0,-1 0 1 0 0,1 0-1 0 0,0 0 0 0 0,0 0 0 0 0,-1-1 0 0 0,1 0 1 0 0,0 0-1 0 0,-1 0 0 0 0,1-1 0 0 0,-1 1 0 0 0,0-1 1 0 0,1 0-1 0 0,-1 0 0 0 0,0 0 0 0 0,0-1 0 0 0,4-3 1 0 0,1-1-433 0 0,-1 0 1 0 0,-1 0 0 0 0,1-1 0 0 0,-1 0 0 0 0,0 0 0 0 0,-1-1 0 0 0,9-15 0 0 0,-8 11-2456 0 0,8-22 1 0 0,-10 21-2558 0 0,4-22 1 0 0,-6 23 3975 0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0.37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0 1 8 0 0,'-15'0'0'0'0,"2"1"0"0"0,-1 1 0 0 0,1 0 0 0 0,0 3 0 0 0,0 1 48 0 0,11-4 236 0 0,-1 0 635 0 0,-8 6 2987 0 0,9-10-3512 0 0,-9-8 1043 0 0,11 8-1153 0 0,0-6-53 0 0,0 6 226 0 0,2 1-695 0 0,0 1 247 0 0,0 0 0 0 0,-1-1 1 0 0,1 1-1 0 0,-1 0 0 0 0,1 0 1 0 0,0 0-1 0 0,-1 0 0 0 0,1 0 1 0 0,-1 0-1 0 0,1 0 0 0 0,1 1 1 0 0,-1 0 74 0 0,-1-1-57 0 0,-1 0 1 0 0,0 0-1 0 0,1 0 1 0 0,-1 0 0 0 0,0 0-1 0 0,0 0 1 0 0,1 0-1 0 0,-1 0 1 0 0,0-1 0 0 0,1 1-1 0 0,-1 0 1 0 0,0 0-1 0 0,0 0 1 0 0,1 0 0 0 0,-1 0-1 0 0,0-1 1 0 0,0 1-1 0 0,0 0 1 0 0,1 0 0 0 0,-1 0-1 0 0,0-1 1 0 0,1 1-1 0 0</inkml:trace>
</inkml:ink>
</file>

<file path=ppt/ink/ink1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5.53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9 67 8 0 0,'-5'1'419'0'0,"0"-1"89"0"0,3-1-208 0 0,0 1 0 0 0,1 0 0 0 0,-1 0 0 0 0,0 1 0 0 0,0-1 0 0 0,0 0 0 0 0,1 1 0 0 0,-1-1 0 0 0,0 1 1 0 0,-1 0-1 0 0,-16 5 3652 0 0,15-5-2857 0 0,-16 1 1871 0 0,15-3-2118 0 0,1 1-534 0 0,-4 0-28 0 0,-4-3 2742 0 0,7 2-2813 0 0,-11-2 2266 0 0,14-1-2159 0 0,-8-12-34 0 0,8 12 508 0 0,5 1-733 0 0,12-9-13 0 0,-11 9-2 0 0,9 3 18 0 0,-10-1-58 0 0,0 1 0 0 0,0 0 0 0 0,0 0 0 0 0,0 0 0 0 0,0 1 0 0 0,3 0 0 0 0,27 5 68 0 0,269 25 79 0 0,-278-29-147 0 0,1 1 1 0 0,11 1 3 0 0,-4-2-8 0 0,0-1-65 0 0,-17 1-7 0 0,-12-2-48 0 0,-21-20-3615 0 0,14 15 2363 0 0,0 3-423 0 0,-14-10-563 0 0,-20-16-9344 0 0,19 14 11519 0 0</inkml:trace>
</inkml:ink>
</file>

<file path=ppt/ink/ink1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5.89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9 3 8 0 0,'-4'-1'396'0'0,"-16"-1"3192"0"0,18 2-3365 0 0,1 0 0 0 0,-1 1 1 0 0,1-1-1 0 0,-1 0 1 0 0,1 0-1 0 0,-1 1 1 0 0,1-1-1 0 0,0 1 1 0 0,-11 4 3818 0 0,10-1-2922 0 0,-6 14-77 0 0,7-17-944 0 0,0 0 0 0 0,1 1 0 0 0,-1-1 0 0 0,1 0 0 0 0,-1 0 0 0 0,1 0 0 0 0,0 0 0 0 0,0 0 0 0 0,-1 1 0 0 0,1-1 0 0 0,0 0 0 0 0,0 0 0 0 0,0 1 0 0 0,0 1 0 0 0,1 0 152 0 0,-2 6 339 0 0,0 5-106 0 0,3 6 304 0 0,-2 288 2685 0 0,-21 7-2976 0 0,-2-100-473 0 0,12-120-153 0 0,10-71-42 0 0,2-3-238 0 0,-1-16 44 0 0,-1 2 244 0 0</inkml:trace>
</inkml:ink>
</file>

<file path=ppt/ink/ink1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6.81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5 154 8 0 0,'1'-27'0'0'0,"3"1"35"0"0,-1 17-14 0 0,2-13 2674 0 0,-1 0 689 0 0,-3 18-2489 0 0,1-9-194 0 0,3-17 4599 0 0,-8 59-4517 0 0,0-5-375 0 0,1 2 52 0 0,-1 7-12 0 0,-8 197 802 0 0,10-129-954 0 0,9 249 710 0 0,36 155-1044 0 0,-33-381 62 0 0,5 74 55 0 0,-13 0-53 0 0,-8-142-1 0 0,3-46-10 0 0,-4 8 6 0 0,4-13 5 0 0,-2-2-54 0 0,-12 8-35 0 0,11-8-61 0 0,2-7-423 0 0,-1 1 400 0 0,2 2 47 0 0,1-1 0 0 0,-1 1 1 0 0,1-1-1 0 0,0 1 0 0 0,-1-1 1 0 0,1 0-1 0 0,0 1 0 0 0,0-1 1 0 0,-1-3-1 0 0,-1 1-167 0 0,2 3 100 0 0,0 0 1 0 0,0-1-1 0 0,0 0 1 0 0,0 1-1 0 0,0-1 1 0 0,1 1-1 0 0,-1-1 1 0 0,0 0-1 0 0,0-2 1 0 0,-6-22-2807 0 0,5 20 2340 0 0,-4-17-2972 0 0,5 17 2758 0 0,-5-18-3457 0 0,0-1 2884 0 0,-1-7 1180 0 0</inkml:trace>
</inkml:ink>
</file>

<file path=ppt/ink/ink1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7.15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1 392 8 0 0,'-25'10'0'0'0,"-20"13"818"0"0,38-20-444 0 0,-18 11 1717 0 0,8-4-888 0 0,13-8-29 0 0,-1 1-61 0 0,0 1-641 0 0,-12 6 6163 0 0,20-27-5280 0 0,-2 12-1099 0 0,-1 4-215 0 0,0 1 0 0 0,0-1-1 0 0,0 1 1 0 0,1-1 0 0 0,-1 0-1 0 0,0 1 1 0 0,0-1 0 0 0,0 1-1 0 0,1-1 1 0 0,-1 1 0 0 0,0 0-1 0 0,1-1 1 0 0,-1 1 0 0 0,0-1-1 0 0,1 1 1 0 0,-1-1 0 0 0,1 1-1 0 0,15-16 377 0 0,0 1 0 0 0,1 1-1 0 0,1 1 1 0 0,0 1-1 0 0,1 0 1 0 0,1 1-1 0 0,32-13 1 0 0,156-48 1021 0 0,-185 66-1302 0 0,583-142 872 0 0,-310 99-4471 0 0,-262 41 2084 0 0,39-12-7729 0 0,-55 14 4493 0 0,-7 0 3276 0 0,-5 2 429 0 0,0 1-414 0 0</inkml:trace>
</inkml:ink>
</file>

<file path=ppt/ink/ink1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9.40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0 47 8 0 0,'-33'-11'2171'0'0,"29"10"-1743"0"0,-15-6 2382 0 0,3-1-1818 0 0,12 6-41 0 0,0 0-64 0 0,-11-7-105 0 0,12 7 363 0 0,-13 0-598 0 0,11 0-467 0 0,1 1 117 0 0,-14 6 122 0 0,14-5-8 0 0,0 5-156 0 0,-11 15-15 0 0,14-19-124 0 0,0 0 0 0 0,0 1 0 0 0,0-1 0 0 0,0 0 0 0 0,0 1 1 0 0,1-1-1 0 0,-1 1 0 0 0,0-1 0 0 0,0 1 0 0 0,1-1 0 0 0,-1 1 1 0 0,1 2-1 0 0,-1 0 20 0 0,-1 6 72 0 0,1-3-70 0 0,-1 22 156 0 0,4 19 144 0 0,6 50-1 0 0,17 94 328 0 0,-11-66-292 0 0,18 250 87 0 0,-28-227-345 0 0,0-6-30 0 0,-4-119-84 0 0,1 1-2 0 0,3 10-7 0 0,1 2-48 0 0,-3-22 2 0 0,-2-11-34 0 0,0-51-14580 0 0</inkml:trace>
</inkml:ink>
</file>

<file path=ppt/ink/ink1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9.7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6 148 8 0 0,'-5'0'396'0'0,"-16"2"727"0"0,19-2-984 0 0,0 0 0 0 0,1 0 0 0 0,-1 0 0 0 0,0 0 0 0 0,0 1 1 0 0,1-1-1 0 0,-1 1 0 0 0,0-1 0 0 0,1 1 0 0 0,-1-1 0 0 0,1 1 0 0 0,-3 1 0 0 0,0 1 148 0 0,-1-2 1064 0 0,2 4-756 0 0,-8 13 26 0 0,8-14 696 0 0,6 0-652 0 0,6 13-35 0 0,-6-13-58 0 0,1-1-76 0 0,14 10-77 0 0,-9-8-61 0 0,-4-3-249 0 0,-3-1-68 0 0,-1-1 1 0 0,1 1-1 0 0,-1 0 1 0 0,1-1-1 0 0,0 0 1 0 0,-1 1-1 0 0,1-1 1 0 0,0 0-1 0 0,0 0 1 0 0,-1 0-1 0 0,1 0 1 0 0,2 0-1 0 0,19 0 289 0 0,-11-2-3 0 0,34-12 546 0 0,56-26 1 0 0,-17 5-262 0 0,193-56 160 0 0,-206 72-1098 0 0,144-16 1 0 0,-193 33-821 0 0,0 1 0 0 0,0 1 0 0 0,24 4 0 0 0,-35-3-63 0 0,0 1 0 0 0,0 1 1 0 0,0 0-1 0 0,-1 1 0 0 0,1 0 1 0 0,-1 1-1 0 0,15 8 0 0 0,-1 2 1040 0 0</inkml:trace>
</inkml:ink>
</file>

<file path=ppt/ink/ink1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0.08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9 45 8 0 0,'-34'16'165'0'0,"9"-1"657"0"0,20-11 134 0 0,0-1-33 0 0,-15 10 41 0 0,15-10 78 0 0,-17 2 5683 0 0,22-9-6283 0 0,-2-14-25 0 0,2 13-18 0 0,5 1-25 0 0,2-1-258 0 0,-5 2-40 0 0,1 1-1 0 0,1-1 0 0 0,-1 1 0 0 0,0 0 0 0 0,1 0 0 0 0,5-2 0 0 0,11-5 89 0 0,0 1 1 0 0,0 1-1 0 0,1 0 1 0 0,0 2-1 0 0,37-5 1 0 0,-41 8-147 0 0,1 1 0 0 0,-1 1 0 0 0,0 0 1 0 0,1 1-1 0 0,-1 1 0 0 0,0 0 0 0 0,30 9 0 0 0,-42-10-6 0 0,-1 1 0 0 0,1 0 1 0 0,-1 0-1 0 0,5 3 0 0 0,-2-2-2 0 0,-6-2-8 0 0,0-1 0 0 0,0 1 0 0 0,0-1-1 0 0,0 0 1 0 0,-1 1 0 0 0,1-1 0 0 0,0 1 0 0 0,0 0 0 0 0,-1-1 0 0 0,1 1 0 0 0,1 1 0 0 0,14 16-1 0 0,-15-17-5 0 0,-1-1 1 0 0,1 1-1 0 0,0-1 0 0 0,-1 1 1 0 0,1 0-1 0 0,-1 0 0 0 0,0-1 1 0 0,1 1-1 0 0,-1 0 0 0 0,1 0 1 0 0,-1 1-1 0 0,8 21-73 0 0,-5-10-21 0 0,-1 8-68 0 0,-1 1-1 0 0,-1 0 1 0 0,-3 29 0 0 0,-1-32 74 0 0,-1-1 0 0 0,0 0 0 0 0,-1 0 0 0 0,-1 0 0 0 0,0-1 0 0 0,-2 0 0 0 0,0 0 0 0 0,-1-1 0 0 0,-12 16 0 0 0,-1-1 114 0 0,16-22-15 0 0,-21 24 29 0 0,-6 3 83 0 0,27-29-79 0 0,-20 21 253 0 0,-1 5 215 0 0,13-15-263 0 0,11-14-38 0 0,1 1-47 0 0,-10 13-49 0 0,10-14 32 0 0,4 0-122 0 0,6 11 6 0 0,-7-15-27 0 0,0 0 1 0 0,0 1-1 0 0,0-1 1 0 0,0 0-1 0 0,0 0 1 0 0,0 1-1 0 0,0-1 1 0 0,0 0-1 0 0,1 0 1 0 0,-1 0-1 0 0,0 0 1 0 0,0 1-1 0 0,0-1 1 0 0,0 0-1 0 0,1 0 1 0 0,-1 0-1 0 0,0 0 1 0 0,0 1-1 0 0,0-1 1 0 0,0 0-1 0 0,1 0 1 0 0,-1 0-1 0 0,0 0 1 0 0,0 0-1 0 0,1 0 1 0 0,-1 0-1 0 0,0 0 1 0 0,0 0-1 0 0,0 0 1 0 0,1 0-1 0 0,-1 0 1 0 0,24 5-5 0 0,-18-3 2 0 0,21 1-46 0 0,90 0-1160 0 0,-93-4-910 0 0,0-1 0 0 0,0-1 0 0 0,27-7 0 0 0,10-7-3097 0 0,-31 7 4915 0 0</inkml:trace>
</inkml:ink>
</file>

<file path=ppt/ink/ink1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0.60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5 11 8 0 0,'-23'-9'23'0'0,"18"8"622"0"0,4 4-57 0 0,0 1-388 0 0,0-3-104 0 0,0 0 1 0 0,1 0-1 0 0,-1 0 0 0 0,1 0 0 0 0,-1 1 1 0 0,1-1-1 0 0,0 0 0 0 0,-1 0 1 0 0,1 1-1 0 0,0 1 0 0 0,2 1 496 0 0,-1 2-414 0 0,0-3-69 0 0,0-1 0 0 0,-1 1 0 0 0,1 0 0 0 0,1-1 0 0 0,-1 1 0 0 0,2 2 0 0 0,13 24 567 0 0,4 10-150 0 0,-6-8-309 0 0,50 98 704 0 0,-29-66-334 0 0,78 130 185 0 0,-72-129-628 0 0,-3 2 1 0 0,-2 1-1 0 0,-3 2 1 0 0,-4 2-1 0 0,-2 0 1 0 0,-4 2-1 0 0,-3 0 0 0 0,-3 2 1 0 0,11 117-1 0 0,-22-83-157 0 0,-4 1 1 0 0,-25 204-1 0 0,13-255-29 0 0,-2-1 1 0 0,-38 109-1 0 0,-67 102 301 0 0,102-240-128 0 0,-2 0-1 0 0,-24 30 0 0 0,32-50-23 0 0,2-2-72 0 0,3-3 0 0 0,0-1 0 0 0,0 1 0 0 0,0-1 0 0 0,-9 6 0 0 0,-7 4 76 0 0,20-13-103 0 0,-1 1-1 0 0,1-1 0 0 0,-1 1 1 0 0,1-1-1 0 0,-1 0 0 0 0,1 0 1 0 0,-1 1-1 0 0,1-1 1 0 0,-1 0-1 0 0,1 0 0 0 0,-1 0 1 0 0,0 1-1 0 0,1-1 0 0 0,-2 0 1 0 0,-2 1 25 0 0,2-1-19 0 0,0 1 0 0 0,0-1 0 0 0,0 0 0 0 0,0 0 0 0 0,1 0 0 0 0,-1 0 0 0 0,0 0 0 0 0,-3-1 0 0 0,-12 0-24 0 0,13 0-115 0 0,-1-2-151 0 0,-15-10-176 0 0,13 6-192 0 0,4 3 385 0 0,2 3 114 0 0,-1 0-1 0 0,1-1 1 0 0,0 1-1 0 0,0-1 1 0 0,0 1-1 0 0,1-1 1 0 0,-1 1-1 0 0,0-1 1 0 0,0 1-1 0 0,0-4 1 0 0,-1 0-245 0 0,1 4 194 0 0,0-1 0 0 0,0 1-1 0 0,0-1 1 0 0,1 0 0 0 0,-1 1 0 0 0,1-1-1 0 0,-1 0 1 0 0,1 1 0 0 0,0-1-1 0 0,0 0 1 0 0,-1-2 0 0 0,0-1-379 0 0,1 3 227 0 0,0 0 1 0 0,-1 0 0 0 0,1-1 0 0 0,0 1-1 0 0,0 0 1 0 0,0 0 0 0 0,0 0-1 0 0,1-3 1 0 0,2-15-178 0 0,8-5 486 0 0</inkml:trace>
</inkml:ink>
</file>

<file path=ppt/ink/ink1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1.18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4 145 8 0 0,'-19'2'80'0'0,"15"-2"411"0"0,-5 3 782 0 0,8-3-933 0 0,-1 1-1 0 0,1-1 1 0 0,0 0-1 0 0,-1 1 1 0 0,1-1 0 0 0,0 0-1 0 0,-1 0 1 0 0,1 0 0 0 0,0 0-1 0 0,-2 0 1 0 0,-16 0 4328 0 0,18-4-4415 0 0,-4-12 6 0 0,4 11 235 0 0,4 2-271 0 0,12-10-32 0 0,-11 10-39 0 0,0 1-37 0 0,10-7-29 0 0,-10 7-26 0 0,0 2-13 0 0,1-2-35 0 0,-4 2-6 0 0,1-1 0 0 0,0 0-1 0 0,0 1 1 0 0,0 0 0 0 0,0 0 0 0 0,0-1-1 0 0,0 1 1 0 0,2 1 0 0 0,11-1-1 0 0,-7 0 7 0 0,6 2-1 0 0,-10-2 114 0 0,-4-4-81 0 0,0-13 7 0 0,0 13-6 0 0,-2 1 10 0 0,-6-12 8 0 0,6 11 3 0 0,-2 0 13 0 0,-13-10 9 0 0,13 10 15 0 0,-1 1 43 0 0,-15-8 59 0 0,16 8 43 0 0,-1 2 32 0 0,-1-1-188 0 0,4 2-28 0 0,-1-1 0 0 0,0 1 0 0 0,1-1 0 0 0,-1 1 0 0 0,1 0 0 0 0,-6 0 0 0 0,5-1 12 0 0,2 1-51 0 0,-1 0 1 0 0,1 0-1 0 0,0-1 0 0 0,0 1 0 0 0,0 0 0 0 0,-1 0 0 0 0,1 0 0 0 0,0 1 0 0 0,0-1 0 0 0,0 0 0 0 0,0 0 0 0 0,0 1 0 0 0,-1-1 0 0 0,0 1 0 0 0,-2 0 43 0 0,2-1-35 0 0,0 1 0 0 0,0-1 0 0 0,0 1 0 0 0,1 0 0 0 0,-1-1 0 0 0,0 1 0 0 0,1 0 0 0 0,-3 1 0 0 0,-11 6 98 0 0,11-5-47 0 0,0 1-33 0 0,-12 16-21 0 0,10-10-20 0 0,-2 12-16 0 0,5-11-6 0 0,2-4 5 0 0,0-3-1 0 0,1 0 1 0 0,0 0 0 0 0,-1 0 0 0 0,2 0 0 0 0,-1 6 0 0 0,0-4 11 0 0,0-3-11 0 0,0-1 1 0 0,0 1-1 0 0,0-1 1 0 0,0 1-1 0 0,1 0 1 0 0,-1-1-1 0 0,1 1 0 0 0,-1-1 1 0 0,2 3-1 0 0,5 18-301 0 0,-2-12-368 0 0,8 9-604 0 0,-5-11-757 0 0,10 7-1043 0 0,-11-10-181 0 0,-6-6 2899 0 0,1 1 0 0 0,29 11-3623 0 0</inkml:trace>
</inkml:ink>
</file>

<file path=ppt/ink/ink1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2.83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39 304 8 0 0,'13'-15'0'0'0,"-27"31"0"0"0,-9 6 0 0 0,-8 2 60 0 0,-10 8 990 0 0,2-2 469 0 0,-48 29 589 0 0,-56 43 271 0 0,131-93-2232 0 0,-56 49 664 0 0,66-56-772 0 0,-25 21 228 0 0,4 0-72 0 0,-12 13-3 0 0,6-7-45 0 0,14-13-62 0 0,12-12 1262 0 0,4-7-1200 0 0,0-2-109 0 0,-1 4-27 0 0,0-1 0 0 0,0 1-1 0 0,1 0 1 0 0,-1-1 0 0 0,1 1 0 0 0,-1-1-1 0 0,1 1 1 0 0,0 0 0 0 0,-1-1-1 0 0,1 1 1 0 0,0 0 0 0 0,0-1-1 0 0,1 0 1 0 0,24-36 109 0 0,84-103 107 0 0,148-181 423 0 0,-238 294-432 0 0,3-2 22 0 0,-13 15-135 0 0,-8 11 95 0 0,-4 9-242 0 0,-16 23-82 0 0,-5 8 53 0 0,-52 104 4 0 0,69-126 63 0 0,-60 151 126 0 0,64-161-107 0 0,1 0 0 0 0,0 0 0 0 0,0 0 0 0 0,0 0 0 0 0,0 5 0 0 0,0-1 7 0 0,-2 19 163 0 0,2-23 1433 0 0,4-10-1448 0 0,0 0-124 0 0,-2 2-19 0 0,1 0 1 0 0,-1 0-1 0 0,1 0 0 0 0,-1-1 0 0 0,0-4 1 0 0,13-41 63 0 0,20-53 0 0 0,30-55-52 0 0,-56 139-34 0 0,63-152 170 0 0,-64 149-214 0 0,-5 17 33 0 0,-1 1-19 0 0,-5 7-670 0 0,-11 8 557 0 0,15-10 129 0 0,-1 0-1 0 0,0-1 1 0 0,0 1-1 0 0,1 0 1 0 0,-1-1-1 0 0,1 1 0 0 0,-1 0 1 0 0,0 0-1 0 0,1 0 1 0 0,-1 0-1 0 0,1 1 1 0 0,-80 126-346 0 0,-68 127 20 0 0,101-168 318 0 0,-37 87 425 0 0,72-142-113 0 0,10-26-151 0 0,1-2-4 0 0,-2 11 9 0 0,2-12 279 0 0,5-6-318 0 0,1-1-82 0 0,15-16 84 0 0,-14 15-95 0 0,16-22 34 0 0,76-91 27 0 0,43-40-21 0 0,-66 77 32 0 0,-15 16-43 0 0,-58 61-59 0 0,1 0 1 0 0,0 1-1 0 0,0-1 0 0 0,7-4 0 0 0,-4 2-8 0 0,13-10-140 0 0,-15 13 119 0 0,0 0-112 0 0,-3 5-242 0 0,-1 0 364 0 0,1 0 1 0 0,0-1-1 0 0,-1 1 1 0 0,1 0-1 0 0,0-1 1 0 0,0 1-1 0 0,2 2 1 0 0,0 1-15 0 0,-2-5 41 0 0,-1 1 0 0 0,0-1 1 0 0,0 0-1 0 0,1 1 0 0 0,-1-1 0 0 0,0 1 1 0 0,0-1-1 0 0,0 1 0 0 0,0-1 0 0 0,0 1 0 0 0,1-1 1 0 0,-1 1-1 0 0,0-1 0 0 0,0 1 0 0 0,0-1 0 0 0,0 1 1 0 0,-1-1-1 0 0,1 1 0 0 0,0-1 0 0 0,0 1 0 0 0,0 0 1 0 0,-53 191-275 0 0,4-18 135 0 0,46-160 138 0 0,-68 264-184 0 0,43-206 499 0 0,26-67 873 0 0,3-10-1086 0 0,5-30 27 0 0,142-501-565 0 0,-114 408 441 0 0,-34 126 0 0 0,1 0 0 0 0,0 0 1 0 0,-1-1-1 0 0,0 1 0 0 0,0-1 0 0 0,0 1 1 0 0,0 0-1 0 0,0-1 0 0 0,-1-2 0 0 0,1-1-5 0 0,0 5 3 0 0,0-1 0 0 0,0 1 0 0 0,0 0 0 0 0,0 0 0 0 0,0-1 0 0 0,0 1-1 0 0,0 0 1 0 0,-1 0 0 0 0,1-1 0 0 0,0 1 0 0 0,-1 0 0 0 0,1 0-1 0 0,-1 0 1 0 0,-1-3 0 0 0,1 1-12 0 0,-1-1-52 0 0,-2 2-12 0 0,-14-6-26 0 0,17 8 100 0 0,1-1 1 0 0,0 1-1 0 0,-1 0 1 0 0,1 0-1 0 0,-1 0 0 0 0,1 0 1 0 0,0-1-1 0 0,-1 1 1 0 0,1 0-1 0 0,0 0 0 0 0,-1 0 1 0 0,1 0-1 0 0,-1 0 1 0 0,1 0-1 0 0,-1 0 0 0 0,1 0 1 0 0,0 0-1 0 0,-1 0 0 0 0,1 1 1 0 0,-1-1-1 0 0,1 0 1 0 0,0 0-1 0 0,-1 0 0 0 0,-21 7-107 0 0,11-2-24 0 0,-14 10 2 0 0,12-5 8 0 0,-54 54-270 0 0,-74 90 0 0 0,139-151 389 0 0,-158 186-35 0 0,85-122 627 0 0,65-61-325 0 0,6-4-174 0 0,3-2-43 0 0,-1 1 0 0 0,1 0 0 0 0,0-1 0 0 0,-1 1 0 0 0,1-1 0 0 0,-1 0-1 0 0,1 1 1 0 0,-1-1 0 0 0,-2 0 0 0 0,1-3 176 0 0,-12-10-53 0 0,14 12-161 0 0,1 1 0 0 0,0 0-1 0 0,-1 0 1 0 0,1-1 0 0 0,0 1-1 0 0,0 0 1 0 0,-1-1 0 0 0,1 1-1 0 0,0 0 1 0 0,0-1 0 0 0,-1 1-1 0 0,1 0 1 0 0,0-1-1 0 0,0 1 1 0 0,0-1 0 0 0,0 1-1 0 0,-1 0 1 0 0,1-1 0 0 0,0 1-1 0 0,0-1 1 0 0,0 1 0 0 0,0-1-1 0 0,-1-9 8 0 0,1 1-1 0 0,-1-1 1 0 0,2 1 0 0 0,-1-1-1 0 0,1 1 1 0 0,3-13 0 0 0,10-23-25 0 0,1 1 1 0 0,38-76 0 0 0,58-77-26 0 0,-100 177 38 0 0,140-210-428 0 0,-147 224 334 0 0,-4 11-591 0 0,-1 4 693 0 0,0 0 1 0 0,-1 0-1 0 0,0-1 1 0 0,0 1-1 0 0,-1-1 1 0 0,0 1-1 0 0,-8 12 1 0 0,-148 261-157 0 0,116-214 137 0 0,-38 64 11 0 0,64-96-50 0 0,15-30-126 0 0,24 8-5955 0 0,-22-14 6022 0 0,1 1 0 0 0,-1-1 0 0 0,0 0 0 0 0,1 0 0 0 0,-1 0 0 0 0,0 1 0 0 0,1-1 0 0 0,-1 0 1 0 0,1 0-1 0 0,-1 0 0 0 0,0 0 0 0 0,1 0 0 0 0,-1 0 0 0 0,0 0 0 0 0,1 0 0 0 0,-1 0 0 0 0,1 0 0 0 0,-1 0 0 0 0,0 0 0 0 0,1 0 0 0 0,-1 0 1 0 0,1 0-1 0 0,-1 0 0 0 0,0 0 0 0 0,1-1 0 0 0,-1 1 0 0 0,0 0 0 0 0,1 0 0 0 0,-1 0 0 0 0,0-1 0 0 0,1 1 0 0 0,-1 0 0 0 0,0-1 0 0 0,37-16-2823 0 0,-2-1 2365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1.17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8 15 8 0 0,'1'-15'4490'0'0,"2"18"-3695"0"0,6 9-191 0 0,-6-5-118 0 0,3 25 336 0 0,3 61 0 0 0,-9-75-618 0 0,0-1 0 0 0,-1 0-1 0 0,-1 1 1 0 0,-1-1 0 0 0,-7 25 0 0 0,7-31 159 0 0,-2-1 0 0 0,1 0 0 0 0,-1-1 0 0 0,-1 1 0 0 0,1-1 0 0 0,-8 9 0 0 0,10-14-299 0 0,2-2-38 0 0,0 0 0 0 0,0-1 0 0 0,0 1 0 0 0,-1 0 0 0 0,1-1 1 0 0,0 1-1 0 0,-1-1 0 0 0,1 0 0 0 0,-3 2 0 0 0,-49 41 137 0 0,29-22-1008 0 0,0 2-1 0 0,-33 41 1 0 0,55-62 381 0 0,0 0 0 0 0,0-1 0 0 0,0 2-1 0 0,1-1 1 0 0,-1 0 0 0 0,1 0 0 0 0,-2 6 0 0 0,3-8 321 0 0,16-4-5736 0 0</inkml:trace>
</inkml:ink>
</file>

<file path=ppt/ink/ink1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09.79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94 8 0 0,'-1'-22'0'0'0,"9"-2"3582"0"0,-3 1 3434 0 0,-6 28-6837 0 0,-2 13-14 0 0,2-13-18 0 0,2-1-10 0 0,0 16-2 0 0,0-15-4 0 0,1 0 5 0 0,6 13 5 0 0,-6-14-1 0 0,2 0 11 0 0,13 11 8 0 0,-9-10 3 0 0,10 2 13 0 0,-8-5 8 0 0,-1-1-100 0 0,-3 0-10 0 0,0-1-1 0 0,0 1 1 0 0,0-1 0 0 0,0 0-1 0 0,0-1 1 0 0,8-1 0 0 0,133-28 751 0 0,83-36 158 0 0,-110 30-398 0 0,-107 32-520 0 0,-4 2-43 0 0,3 1 46 0 0,6-1-10 0 0,-19 6-48 0 0,-6 10-5 0 0,5-10-16 0 0,-2-2-5 0 0,-12 6-7 0 0,12-6-8 0 0,0 0-80 0 0,1 0 55 0 0,2-1-6 0 0,0-1 0 0 0,0 1 0 0 0,0 0 0 0 0,0-1 0 0 0,-1 1 0 0 0,1-1 0 0 0,0 1 0 0 0,0-1 0 0 0,0 0 0 0 0,-1 1 0 0 0,0-1 0 0 0,0 0 17 0 0,1 0 1 0 0,0 0 0 0 0,0 0-1 0 0,0 0 1 0 0,-1-1 0 0 0,1 1-1 0 0,0 0 1 0 0,0-1 0 0 0,0 1 0 0 0,0-1-1 0 0,-2 0 1 0 0,0-1-69 0 0,-1 1-295 0 0,-14-14-6107 0 0,-8 8-834 0 0</inkml:trace>
</inkml:ink>
</file>

<file path=ppt/ink/ink1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0.19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 1 8 0 0,'-2'26'0'0'0,"3"-2"0"0"0,0 2 0 0 0,1 0 96 0 0,-2 8 1311 0 0,0 1 269 0 0,-5 378 4068 0 0,-1-221-5560 0 0,2-122-77 0 0,-4 3 368 0 0,7-68-202 0 0,1-1 50 0 0,0 14 16 0 0,0-13 1497 0 0,6-26-6346 0 0,-5 17 2939 0 0,13-24-4433 0 0,-5 8 5629 0 0,7-11 375 0 0</inkml:trace>
</inkml:ink>
</file>

<file path=ppt/ink/ink1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2.22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4 176 8 0 0,'-9'-23'0'0'0,"2"1"0"0"0,3-1 0 0 0,-2-6 220 0 0,1 3 891 0 0,4 20 257 0 0,1 2-30 0 0,-2-25 1853 0 0,2 15-1434 0 0,0 28 1762 0 0,0 14-701 0 0,0-15-3909 0 0,7 399 1671 0 0,35 65-448 0 0,-25-370 114 0 0,2 12 162 0 0,-16-88-316 0 0,-2 0 1 0 0,-2 35-1 0 0,1-59-78 0 0,-3 22 60 0 0,-2-1 6 0 0,2-11-48 0 0,2-13-4 0 0,0 0 9 0 0,-6 14 3 0 0,6-13 32 0 0,-3-3-84 0 0,-11 8-68 0 0,11-7-84 0 0,1-4-134 0 0,-12 0-161 0 0,11 0-184 0 0,0 0-236 0 0,-12-6-286 0 0,12 5-370 0 0,-15-14-3014 0 0,13 9 1688 0 0,-2-10 270 0 0,6 7 1679 0 0,0-18 809 0 0</inkml:trace>
</inkml:ink>
</file>

<file path=ppt/ink/ink1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2.54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0 107 8 0 0,'-44'-12'15347'0'0,"43"7"-14895"0"0,-1 1-311 0 0,0-12 500 0 0,5 13-318 0 0,1-2-225 0 0,-3 4-51 0 0,1-1 0 0 0,-1 1 0 0 0,0-1 0 0 0,1 1 0 0 0,0 0 0 0 0,-1 0 0 0 0,1-1 0 0 0,0 1 0 0 0,2-1 0 0 0,19-10 468 0 0,-17 9-429 0 0,17-7 349 0 0,-17 8-348 0 0,23-7 319 0 0,-21 6-333 0 0,-4 2-19 0 0,0-1 0 0 0,1 1 0 0 0,-1 0 1 0 0,1 0-1 0 0,5 1 0 0 0,9-2 61 0 0,0 1 1 0 0,1 1-1 0 0,26 4 0 0 0,-38-3-89 0 0,23 4 106 0 0,52 15 1 0 0,-44-8-121 0 0,-32-10-18 0 0,19 9-80 0 0,0 1-313 0 0,-11-6-17 0 0,-11-4-220 0 0,0 0-290 0 0,14 6-386 0 0,-13-6-526 0 0</inkml:trace>
</inkml:ink>
</file>

<file path=ppt/ink/ink1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3.07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1 121 8 0 0,'-23'-4'0'0'0,"-1"0"32"0"0,-1 0 2146 0 0,21 3-1003 0 0,0-1-695 0 0,-10-3 5348 0 0,14 2-5301 0 0,0-12-46 0 0,0 11 375 0 0,2 3-795 0 0,-1 1-1 0 0,1-1 1 0 0,-1 0-1 0 0,1-1 1 0 0,-1 1-1 0 0,0 0 1 0 0,1 0-1 0 0,-1 0 1 0 0,1-2-1 0 0,1-1 49 0 0,1 1 204 0 0,1 0-21 0 0,23-11 207 0 0,-5 1-131 0 0,2 1-119 0 0,-21 10-212 0 0,-3 1-18 0 0,1 0 0 0 0,0 0 0 0 0,-1 1 0 0 0,1-1-1 0 0,0 0 1 0 0,0 1 0 0 0,-1-1 0 0 0,1 1 0 0 0,0 0 0 0 0,3-1-1 0 0,27-3 288 0 0,-25 2-250 0 0,-4 1-7 0 0,1 0 0 0 0,-1 1 0 0 0,1-1 0 0 0,-1 1 1 0 0,7 0-1 0 0,25 0 300 0 0,-3 1-45 0 0,-26-1-258 0 0,-3 0-16 0 0,0 0 0 0 0,0 0 1 0 0,0 0-1 0 0,0 1 1 0 0,0-1-1 0 0,5 2 1 0 0,23 5 205 0 0,-2 1-68 0 0,-13-3-112 0 0,-12-4-15 0 0,1 2-6 0 0,11 6 0 0 0,-12-6 58 0 0,-1 1-45 0 0,8 12 9 0 0,-8-12 81 0 0,-5 1-88 0 0,-6 11-11 0 0,6-12-15 0 0,-2-1-15 0 0,-2 2-8 0 0,-15 9-14 0 0,16-10 3 0 0,-16 7-93 0 0,-11 4-172 0 0,-4 3-192 0 0,-86 52-1093 0 0,114-65 1449 0 0,5-4 51 0 0,0 1 0 0 0,0 0 0 0 0,0 0 1 0 0,1 0-1 0 0,-1 0 0 0 0,-3 3 1 0 0,-121 102-407 0 0,103-85 464 0 0,19-16 8 0 0,-11 12 113 0 0,13-13-76 0 0,0-1 117 0 0,1 0 37 0 0,-8 12 23 0 0,7-11 480 0 0,6 11-254 0 0,-1-12-357 0 0,-2 0 450 0 0,4-3-289 0 0,13 2-7 0 0,-13-2-23 0 0,1-1-9 0 0,21 3 205 0 0,-1-3-1 0 0,0 0 10 0 0,-1 0-27 0 0,1 2-70 0 0,4 1 1 0 0,-23-2-279 0 0,-1-1-7 0 0,-1 0 0 0 0,0 1 0 0 0,0 0 0 0 0,7 2 0 0 0,26 7 139 0 0,82 24 74 0 0,-73-22-405 0 0,-15-5-138 0 0,-26-5 226 0 0,-3-2 19 0 0,0 1-1 0 0,0 0 0 0 0,1-1 1 0 0,-1 0-1 0 0,0 0 1 0 0,0 1-1 0 0,4-2 0 0 0,9 1-206 0 0,-11 0-43 0 0,0 0-20 0 0,14-2 14 0 0,-13 2 18 0 0,-2-15-4399 0 0,-2 11 4147 0 0</inkml:trace>
</inkml:ink>
</file>

<file path=ppt/ink/ink1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3.93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6 77 8 0 0,'3'-9'23'0'0,"-1"0"150"0"0,2-4 3144 0 0,-2 8-2780 0 0,2-14 5841 0 0,-1 0 1096 0 0,-7 19-7228 0 0,-15-2 454 0 0,16 6-643 0 0,-8 12-18 0 0,8-12-20 0 0,1 1-10 0 0,-11 18-2 0 0,-7 9-14 0 0,16-27 4 0 0,-12 21-18 0 0,3-4 9 0 0,-45 85-65 0 0,29-34-74 0 0,-33 117 0 0 0,57-171 135 0 0,-48 197-79 0 0,18 2 221 0 0,33-197-113 0 0,1-1 0 0 0,0 1 0 0 0,2 0 0 0 0,7 40 0 0 0,-2-36 1 0 0,5 11-5 0 0,6 7 8 0 0,-15-36-12 0 0,0-3 0 0 0,-1 0 0 0 0,1 0 0 0 0,0 0 1 0 0,4 7-1 0 0,-3-6 0 0 0,-2-2-1 0 0,0-1 0 0 0,0 0-1 0 0,0 1 1 0 0,1-1-1 0 0,-1 0 1 0 0,1 0-1 0 0,-1 0 1 0 0,4 3-1 0 0,16 18 11 0 0,-3-5-40 0 0,-14-14-42 0 0,1-1-64 0 0,13 9-84 0 0,-13-9-89 0 0,-1-1-97 0 0,14 8-104 0 0,-13-7-126 0 0,13 13-2552 0 0</inkml:trace>
</inkml:ink>
</file>

<file path=ppt/ink/ink1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4.6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31 112 8 0 0,'0'-24'0'0'0,"2"5"145"0"0,-1-7 4362 0 0,-2 22-3218 0 0,-1-14 6300 0 0,-2 14-6973 0 0,-10-9-59 0 0,10 10 681 0 0,0 4-941 0 0,-13 2-31 0 0,13-2-32 0 0,0 1-47 0 0,-2 0-137 0 0,4-2-30 0 0,0 1 1 0 0,-1 0-1 0 0,1 0 0 0 0,0 0 1 0 0,0 0-1 0 0,0 1 1 0 0,0-1-1 0 0,-2 2 0 0 0,-21 15 80 0 0,-6 5-46 0 0,0 3-50 0 0,0 3-24 0 0,-51 63 0 0 0,22-18-34 0 0,49-58 64 0 0,0-1 0 0 0,1 2-1 0 0,1-1 1 0 0,-8 21-1 0 0,8-10 161 0 0,-10 49-1 0 0,16-60-58 0 0,1 0 1 0 0,1 0-1 0 0,0 0 0 0 0,3 24 0 0 0,0-30-15 0 0,0-3-66 0 0,-1-3-10 0 0,0 0-1 0 0,0 0 1 0 0,1-1 0 0 0,-1 1 0 0 0,4 6-1 0 0,-3-5-4 0 0,-1-2-10 0 0,0-1-1 0 0,0 0 1 0 0,0 0 0 0 0,0 0 0 0 0,0 0 0 0 0,0 0 0 0 0,1 0 0 0 0,-1 0 0 0 0,3 2 0 0 0,9 13 9 0 0,-6-10 3 0 0,14 6-18 0 0,-14-9-11 0 0,-5-3-2 0 0,0 0 0 0 0,0 0-1 0 0,0 0 1 0 0,1 0 0 0 0,-1 0 0 0 0,0-1-1 0 0,1 1 1 0 0,3 0 0 0 0,-1 0-46 0 0,-2 0-3 0 0,-1 0 0 0 0,0-1 0 0 0,0 0 0 0 0,0 1 0 0 0,1-1 1 0 0,-1 0-1 0 0,4 0 0 0 0,-2 1-107 0 0,-3-1 82 0 0,1 0 0 0 0,-1 0 0 0 0,0 0 1 0 0,1 0-1 0 0,-1 0 0 0 0,0 0 0 0 0,0 0 0 0 0,1 0 1 0 0,-1 0-1 0 0,0 0 0 0 0,1-1 0 0 0,-1 1 1 0 0,2-1-1 0 0,12-4-1112 0 0,13-15-6265 0 0,-16 10 2792 0 0,-7 2 3432 0 0,-2 4 401 0 0,0 0-142 0 0</inkml:trace>
</inkml:ink>
</file>

<file path=ppt/ink/ink1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5.04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4 468 8 0 0,'-4'2'488'0'0,"-39"28"15792"0"0,42-34-16022 0 0,-4-12-54 0 0,5 16-197 0 0,0-1 0 0 0,0 1 0 0 0,0 0-1 0 0,-1-1 1 0 0,1 1 0 0 0,0 0-1 0 0,0-1 1 0 0,0 1 0 0 0,0 0 0 0 0,0-1-1 0 0,0 1 1 0 0,0 0 0 0 0,0-1-1 0 0,0 1 1 0 0,0 0 0 0 0,0-1 0 0 0,1 1-1 0 0,-1 0 1 0 0,0 0 0 0 0,0-1-1 0 0,0 1 1 0 0,0 0 0 0 0,0-1 0 0 0,1 1-1 0 0,12-27 229 0 0,8-11-83 0 0,-6 12-72 0 0,23-30 0 0 0,-18 31-54 0 0,91-108 606 0 0,-107 129-589 0 0,17-19 78 0 0,1 1 0 0 0,1 2 1 0 0,0 0-1 0 0,39-24 0 0 0,-41 31-50 0 0,-16 10-7 0 0,0 0-8 0 0,15-9-11 0 0,-15 9 78 0 0,-3 8-90 0 0,8 15-2 0 0,-9-20-30 0 0,-1 1 0 0 0,0-1 0 0 0,0 0 0 0 0,0 0 0 0 0,0 1 0 0 0,1-1 0 0 0,-1 0 0 0 0,0 1 0 0 0,0-1 1 0 0,0 0-1 0 0,0 1 0 0 0,0-1 0 0 0,0 1 0 0 0,0-1 0 0 0,0 0 0 0 0,0 1 0 0 0,0-1 0 0 0,0 0 0 0 0,0 1 0 0 0,0-1 0 0 0,0 0 0 0 0,0 1 0 0 0,0-1 0 0 0,0 1 1 0 0,-2 4 7 0 0,-5 17 36 0 0,2-11-34 0 0,-32 88 2 0 0,-7 18-84 0 0,0-1-58 0 0,-1 31-280 0 0,44-145 396 0 0,0-1 1 0 0,0 1-1 0 0,1-1 0 0 0,-1 1 1 0 0,1 0-1 0 0,0-1 0 0 0,0 1 1 0 0,-1 0-1 0 0,1 0 0 0 0,0 1 1 0 0,0 2-19 0 0,0-2-74 0 0,4-3-1251 0 0,10 0 904 0 0,-10 0-120 0 0,-1-4-146 0 0,11-22-1298 0 0,-1 3-1218 0 0,-10 17 2504 0 0,2-3-207 0 0,5-4-2459 0 0,12-13-1664 0 0,-6 5 4635 0 0</inkml:trace>
</inkml:ink>
</file>

<file path=ppt/ink/ink1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5.36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7 64 8 0 0,'-7'1'1016'0'0,"5"-1"-594"0"0,0 0 0 0 0,1 1 0 0 0,-1-1-1 0 0,0 0 1 0 0,-29 15 12943 0 0,36-11-13089 0 0,13 9-36 0 0,-14-10-30 0 0,9-1 65 0 0,-11-2-246 0 0,0 0 0 0 0,0 1 0 0 0,1-1 0 0 0,-1 0-1 0 0,0 0 1 0 0,0 0 0 0 0,0 0 0 0 0,2-1-1 0 0,24-1 302 0 0,1-1-86 0 0,1 0-125 0 0,-1-1-53 0 0,-24 4-56 0 0,-2 0-4 0 0,-1 0 1 0 0,0 0-1 0 0,0 0 1 0 0,1-1-1 0 0,-1 1 1 0 0,0-1-1 0 0,4 0 1 0 0,21-6 31 0 0,-4 2-35 0 0,-14 4-3 0 0,13-4-32 0 0,-8 0-49 0 0,-10 4-97 0 0,0-2-577 0 0,11-8 117 0 0,-12 8-223 0 0,39-44-15206 0 0</inkml:trace>
</inkml:ink>
</file>

<file path=ppt/ink/ink1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5.8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3 92 8 0 0,'6'-23'0'0'0,"1"1"219"0"0,5-2 6636 0 0,-10 20-5766 0 0,6-15 6331 0 0,-6 24-6933 0 0,6 11-77 0 0,-6-12 167 0 0,-3 1-400 0 0,-6 15-53 0 0,5-15-37 0 0,1 0-38 0 0,-1 1-33 0 0,2-3-15 0 0,-1 0 1 0 0,0 0 0 0 0,1 0-1 0 0,-1 0 1 0 0,-1-1-1 0 0,-2 6 1 0 0,-6 14-6 0 0,5-12 3 0 0,-8 16-17 0 0,-7 9-54 0 0,-45 78-320 0 0,44-75 175 0 0,-20 54-1 0 0,-9 43 52 0 0,44-118 162 0 0,3-7-1 0 0,-2 3 0 0 0,0 1 0 0 0,1 0 0 0 0,1 1 0 0 0,-3 23 1 0 0,5-12 2 0 0,2-2 16 0 0,0-20 0 0 0,5 15 1 0 0,-4-13-12 0 0,0-1 2 0 0,-1-1-9 0 0,6 14 1 0 0,-6-15 2 0 0,0-1 0 0 0,-1 0-1 0 0,1 1 1 0 0,0-1 0 0 0,-1 0-1 0 0,1 5 1 0 0,0-3-4 0 0,-1 0-47 0 0,0 1-69 0 0,0 11-65 0 0,0-12-45 0 0,0 0-33 0 0,0 11-41 0 0,0-12-83 0 0,0 1-107 0 0,-2 11-93 0 0,2-12-45 0 0,15-52-12532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1.67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27 659 3801 0 0,'-2'-2'1507'0'0,"-3"-4"-551"0"0,-1 0 0 0 0,0 0 1 0 0,-1 1-1 0 0,1 0 0 0 0,-1 1 0 0 0,0-1 0 0 0,0 1 1 0 0,0 0-1 0 0,-13-4 0 0 0,7 3-782 0 0,0 1 0 0 0,-1 0 0 0 0,1 1 0 0 0,0 1 0 0 0,-19-2 0 0 0,20 4-205 0 0,1 1 0 0 0,-1 0 0 0 0,0 1-1 0 0,1 0 1 0 0,-1 0 0 0 0,1 1 0 0 0,0 1 0 0 0,-18 8 0 0 0,20-8-11 0 0,0 0 0 0 0,1 1 1 0 0,0 0-1 0 0,0 1 0 0 0,0 0 1 0 0,0 0-1 0 0,1 1 0 0 0,0-1 1 0 0,0 2-1 0 0,-9 13 0 0 0,11-12 127 0 0,0 0 0 0 0,1 1-1 0 0,0-1 1 0 0,1 1 0 0 0,0 0 0 0 0,0 1-1 0 0,1-1 1 0 0,0 0 0 0 0,1 1-1 0 0,0-1 1 0 0,1 1 0 0 0,0-1 0 0 0,3 21-1 0 0,0-13 152 0 0,1 1 0 0 0,1-1 0 0 0,0 0-1 0 0,1 0 1 0 0,1-1 0 0 0,18 32 0 0 0,-21-42-175 0 0,0 0-1 0 0,1-1 1 0 0,-1 0 0 0 0,2 1 0 0 0,-1-2 0 0 0,1 1-1 0 0,-1-1 1 0 0,2 0 0 0 0,-1 0 0 0 0,0-1-1 0 0,10 6 1 0 0,-12-8-24 0 0,1 0 0 0 0,-1-1 0 0 0,1 1 1 0 0,-1-1-1 0 0,1 0 0 0 0,0 0 0 0 0,-1 0 0 0 0,1-1 0 0 0,0 0 0 0 0,0 1 0 0 0,0-2 0 0 0,-1 1 0 0 0,1-1 0 0 0,0 1 0 0 0,0-1 0 0 0,-1 0 1 0 0,1-1-1 0 0,-1 1 0 0 0,8-5 0 0 0,-4 2-8 0 0,-1-1 1 0 0,0 0-1 0 0,0 0 0 0 0,0-1 1 0 0,-1 1-1 0 0,0-2 1 0 0,0 1-1 0 0,-1-1 0 0 0,7-9 1 0 0,3-8-73 0 0,19-40 1 0 0,-13 17-369 0 0,-2-2-1 0 0,25-100 1 0 0,-1-108-263 0 0,-39 216 681 0 0,-2-1 1 0 0,-2 0-1 0 0,-2 0 1 0 0,-1 0 0 0 0,-18-79-1 0 0,18 106 12 0 0,1 4 48 0 0,0 1 0 0 0,-1-1 0 0 0,0 1 0 0 0,-1 0 0 0 0,-5-11 1 0 0,7 18 153 0 0,0 5-149 0 0,-9 4-20 0 0,11-5-50 0 0,0-1 1 0 0,0 0-1 0 0,-1 0 1 0 0,1 0-1 0 0,0 1 0 0 0,-1-1 1 0 0,1 0-1 0 0,0 0 1 0 0,0 1-1 0 0,0-1 0 0 0,-1 0 1 0 0,1 0-1 0 0,0 1 1 0 0,0-1-1 0 0,0 0 0 0 0,0 1 1 0 0,0-1-1 0 0,-1 0 1 0 0,1 1-1 0 0,-4 13 26 0 0,0 1-1 0 0,0-1 1 0 0,2 1-1 0 0,0 0 1 0 0,0 23-1 0 0,6 81-7 0 0,22 80-10 0 0,15-3-426 0 0,-32-155 173 0 0,0 5-253 0 0,-5-19-409 0 0,2-1 0 0 0,1 0 0 0 0,14 36 0 0 0,-20-59 770 0 0,1-1-1 0 0,-1 1 0 0 0,1-1 1 0 0,0 1-1 0 0,0-1 0 0 0,0 0 1 0 0,0 0-1 0 0,0 0 1 0 0,4 3-1 0 0,-6-5 141 0 0,6 2-255 0 0,6-1-209 0 0,-6-3-409 0 0,-3 1 459 0 0,-2 1 236 0 0,0 0 1 0 0,0-1-1 0 0,0 1 1 0 0,-1-1-1 0 0,1 1 1 0 0,0-1-1 0 0,0 1 1 0 0,0-1-1 0 0,0 1 1 0 0,0-1-1 0 0,-1 0 1 0 0,1 0-1 0 0,0 1 1 0 0,-1-1 0 0 0,2-1-1 0 0,18-25-2385 0 0,22-35 0 0 0,8-12-285 0 0,-32 51 2843 0 0</inkml:trace>
</inkml:ink>
</file>

<file path=ppt/ink/ink1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6.23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4 13 8 0 0,'-27'5'51'0'0,"8"3"354"0"0,15-7 662 0 0,1 1 172 0 0,-38 16 14107 0 0,56-15-15222 0 0,-11-2-100 0 0,-1 0 55 0 0,1 1-18 0 0,13 4-5 0 0,-13-4 0 0 0,1-1 3 0 0,1 2-37 0 0,19 3 101 0 0,-20-4-93 0 0,16 1 147 0 0,9-1 83 0 0,-23 0-216 0 0,-4-2-5 0 0,1 1 0 0 0,-1-1 0 0 0,1 0 0 0 0,0 0 0 0 0,6-1 0 0 0,27-1 246 0 0,3-1 8 0 0,-23 0-224 0 0,103-8 543 0 0,-115 11-579 0 0,-1 0-1 0 0,0 0 1 0 0,1-1-1 0 0,6-1 0 0 0,-3 1-3 0 0,16-4 83 0 0,-6 1-40 0 0,-13 2-58 0 0,-3 2-7 0 0,0-1 1 0 0,-1 0-1 0 0,1 1 0 0 0,0 0 0 0 0,0 0 0 0 0,0-1 0 0 0,0 1 1 0 0,3 1-1 0 0,14-1-8 0 0,-15 0-19 0 0,-2 3-1354 0 0,4 12 840 0 0,-4-11-75 0 0,-21 4-4308 0 0,16-6 3445 0 0,-1-23-6746 0 0,5 12 4486 0 0,9-14 3439 0 0,2-1 293 0 0</inkml:trace>
</inkml:ink>
</file>

<file path=ppt/ink/ink1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7.20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53 173 8 0 0,'-2'-32'822'0'0,"3"27"100"0"0,8-25 788 0 0,-6 15-862 0 0,-2 11 35 0 0,-1 0 45 0 0,0-19 1941 0 0,0 22-2742 0 0,0 0-1 0 0,0 0 1 0 0,0-1 0 0 0,0 1-1 0 0,-1 0 1 0 0,1 0-1 0 0,0 0 1 0 0,-1 0 0 0 0,1 0-1 0 0,-1-1 1 0 0,0 0 0 0 0,-2-5 1906 0 0,1 3-1190 0 0,-8-17 2904 0 0,6 19-3412 0 0,-11-6-90 0 0,11 6 154 0 0,3 6-386 0 0,-6 13-2 0 0,6-10-15 0 0,1 34-21 0 0,0-39 22 0 0,-1 2 1 0 0,1-1-1 0 0,0 0 0 0 0,0 0 0 0 0,1 0 0 0 0,0 5 1 0 0,4 15-18 0 0,4 19-24 0 0,17 52 0 0 0,-9-47 14 0 0,-3 1 0 0 0,-1 1 0 0 0,10 90 0 0 0,-20-108 37 0 0,-2 1 0 0 0,-1-1 0 0 0,-2 1 0 0 0,0-1 0 0 0,-3 0 0 0 0,0 0 0 0 0,-13 38 0 0 0,7-35 12 0 0,-2-1 0 0 0,-1-1 0 0 0,-2 0 0 0 0,-21 33 0 0 0,22-44-21 0 0,0 0-1 0 0,-1-1 1 0 0,-1-1 0 0 0,-1 0-1 0 0,-1-2 1 0 0,-28 22 0 0 0,41-35-9 0 0,2 0-4 0 0,-1-1 1 0 0,0 0-1 0 0,0 0 0 0 0,0-1 0 0 0,0 1 0 0 0,-11 2 0 0 0,-8 4-67 0 0,22-9 62 0 0,0 1 0 0 0,0 0 0 0 0,1-1 0 0 0,-1 1 0 0 0,0-1 0 0 0,0 1 0 0 0,0-1 0 0 0,0 0 0 0 0,1 0 0 0 0,-5 0 0 0 0,1 0-38 0 0,-3-1-173 0 0,4-1 138 0 0,3 2 39 0 0,0-1 0 0 0,0 0-1 0 0,0 1 1 0 0,0-1-1 0 0,0 1 1 0 0,-1 0 0 0 0,1-1-1 0 0,0 1 1 0 0,0 0 0 0 0,-3 0-1 0 0,1-5-418 0 0,-10-15-90 0 0,9 11-104 0 0,2 4 418 0 0,2 3 125 0 0,-1 1 0 0 0,1-1 0 0 0,-1 0 0 0 0,1 1 0 0 0,0-1 0 0 0,-1 0 1 0 0,1 0-1 0 0,0 1 0 0 0,0-1 0 0 0,0 0 0 0 0,1-2 0 0 0,-1-3-242 0 0,0 4 4 0 0,0-1 1 0 0,0 1-1 0 0,1 0 1 0 0,-1-1-1 0 0,2-5 1 0 0,-1 2-173 0 0,0 4 2 0 0,-1-1 0 0 0,1 0-1 0 0,0 0 1 0 0,0 1 0 0 0,3-6-1 0 0,4-14-1834 0 0,-3 12-83 0 0,12-14 379 0 0</inkml:trace>
</inkml:ink>
</file>

<file path=ppt/ink/ink1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7.61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4 7 8 0 0,'-18'11'53'0'0,"14"-9"1045"0"0,1 2-306 0 0,-2 1-517 0 0,-9 17 1636 0 0,4-6-1370 0 0,7-12-114 0 0,1 1-95 0 0,-10 15-65 0 0,9-15-19 0 0,2-1-3 0 0,-8 14 2212 0 0,13-20-2401 0 0,13-8-21 0 0,-13 7-11 0 0,-1 0-8 0 0,18-20 1 0 0,-3 5-12 0 0,-13 13-14 0 0,-2 0-24 0 0,12-15-29 0 0,-11 16-15 0 0,-1-1 1 0 0,10-13 22 0 0,-9 13 757 0 0,-8 5-296 0 0,-11-2 113 0 0,15 2-494 0 0,0 0 0 0 0,-1 0 0 0 0,1 0 0 0 0,0 0 0 0 0,-1 0 0 0 0,1 0 0 0 0,0 0 0 0 0,-1 0-1 0 0,1 0 1 0 0,0 0 0 0 0,-1 0 0 0 0,1 0 0 0 0,0 1 0 0 0,-1-1 0 0 0,1 0 0 0 0,0 0 0 0 0,-1 0 0 0 0,1 0 0 0 0,0 0 0 0 0,0 1-1 0 0,-1-1 1 0 0,1 0 0 0 0,-5 3 184 0 0,3-2-54 0 0,-1 1 0 0 0,1-1 0 0 0,0 1-1 0 0,0-1 1 0 0,0 1 0 0 0,-3 2 0 0 0,1 1 58 0 0,2-2-83 0 0,0-1 0 0 0,-1 0 0 0 0,1 0 0 0 0,0 0 0 0 0,-1 0 0 0 0,1-1 0 0 0,-4 3 1 0 0,-29 18 998 0 0,28-18-964 0 0,-20 14 582 0 0,21-12-618 0 0,-20 13 439 0 0,19-15-474 0 0,1-1-1 0 0,1 0 0 0 0,0 0 0 0 0,-7 7 0 0 0,-21 16 178 0 0,4-2-132 0 0,1-4-95 0 0,10-5-72 0 0,14-11-59 0 0,30-19-10825 0 0,-21 11 10002 0 0,16-10-3336 0 0,3-3 3474 0 0</inkml:trace>
</inkml:ink>
</file>

<file path=ppt/ink/ink1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19.65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7 52 8 0 0,'0'0'1334'0'0,"-1"-3"-35"0"0,-3-12 4203 0 0,3 20-5416 0 0,1-3-47 0 0,0 0 0 0 0,-1 0 0 0 0,1-1-1 0 0,1 1 1 0 0,-1 0 0 0 0,0 0-1 0 0,0 0 1 0 0,1 3 0 0 0,0 0 10 0 0,4 14 127 0 0,-4-14-156 0 0,6 13 52 0 0,5 9-25 0 0,-3-11-12 0 0,-7-12-1 0 0,0 1 5 0 0,8 13 2 0 0,-8-13 58 0 0,2-3-30 0 0,13 8 13 0 0,-13-8 14 0 0,0-2 14 0 0,14-2 146 0 0,-14-1-114 0 0,13-6-4 0 0,-13 6 4 0 0,-1-1-6 0 0,10-12-7 0 0,-8 8-2 0 0,0-7-8 0 0,-4 11-18 0 0,0-1-22 0 0,1 0-55 0 0,-1 3-14 0 0,0 1 0 0 0,-1-1 0 0 0,1 0 0 0 0,-1 0 0 0 0,1 0 0 0 0,-1 0 0 0 0,0 0 0 0 0,0 1 0 0 0,0-1 0 0 0,0-3 0 0 0,1 1 8 0 0,-1 3-13 0 0,0 0 0 0 0,1 0 0 0 0,-1 0 0 0 0,0 0 0 0 0,0-1 1 0 0,0 1-1 0 0,0 0 0 0 0,0 0 0 0 0,-1 0 0 0 0,1-1 0 0 0,0 1 1 0 0,-1 0-1 0 0,1 0 0 0 0,-1-1 0 0 0,-7-20 43 0 0,2 7-41 0 0,5 14-8 0 0,1 1 1 0 0,0-1 0 0 0,0 1-1 0 0,-1-1 1 0 0,1 1 0 0 0,0-1-1 0 0,0 1 1 0 0,-1 0 0 0 0,1-1-1 0 0,-1 1 1 0 0,1-1-1 0 0,0 1 1 0 0,-1 0 0 0 0,0-1-1 0 0,-3-3-1 0 0,3 2 0 0 0,0 1 0 0 0,-1 0 0 0 0,1-1 0 0 0,-1 1 0 0 0,1 0 0 0 0,-1 0 0 0 0,0 0 0 0 0,1 0 0 0 0,-1 0 0 0 0,-3-1 0 0 0,1-1-3 0 0,2 3 0 0 0,1-1 1 0 0,0 0 0 0 0,-1 0-1 0 0,0 0 1 0 0,1 1-1 0 0,-1-1 1 0 0,1 1 0 0 0,-1-1-1 0 0,-3 1 1 0 0,1-2-8 0 0,3 2 6 0 0,0-1 0 0 0,-1 1-1 0 0,1-1 1 0 0,-1 1 0 0 0,1 0 0 0 0,0 0 0 0 0,-1-1 0 0 0,1 1 0 0 0,-1 0 0 0 0,1 0 0 0 0,0 0 0 0 0,-4 1 0 0 0,1-1-7 0 0,2 0 5 0 0,0 0 1 0 0,0 0-1 0 0,0 0 1 0 0,0 0-1 0 0,0 1 1 0 0,0-1-1 0 0,0 1 1 0 0,-2 0-1 0 0,-1 0-5 0 0,3 0 5 0 0,0-1 1 0 0,-1 1-1 0 0,1-1 0 0 0,0 1 0 0 0,0 0 0 0 0,0 0 0 0 0,-3 2 0 0 0,-15 8-31 0 0,13-7 38 0 0,4-2 12 0 0,0 0-1 0 0,0 1 1 0 0,0-1 0 0 0,0 0-1 0 0,-4 6 1 0 0,2-4 21 0 0,2-2-3 0 0,1-1 0 0 0,0 1 0 0 0,0 0 1 0 0,0 1-1 0 0,0-1 0 0 0,0 0 0 0 0,-2 6 0 0 0,-18 24 437 0 0,18-26-377 0 0,-11 20 347 0 0,-2 7 75 0 0,14-28-419 0 0,2-3-41 0 0,0-1 1 0 0,0 1-1 0 0,0 0 0 0 0,1 0 1 0 0,-1-1-1 0 0,0 1 0 0 0,1 0 1 0 0,-1 0-1 0 0,0 4 1 0 0,0-2 56 0 0,0-2-47 0 0,0 0 0 0 0,1 0 0 0 0,0 0 1 0 0,-1 0-1 0 0,1 0 0 0 0,0-1 0 0 0,0 1 0 0 0,0 3 0 0 0,0 10 254 0 0,0-11 287 0 0,14 14-22 0 0,-11-14-311 0 0,2-5-29 0 0,15 0-36 0 0,-11-1-48 0 0,14-9 59 0 0,4-4-100 0 0,0 0-69 0 0,-1 1-8 0 0,-11 6-24 0 0,13-9 12 0 0,-23 15-10 0 0,-1-1-3 0 0,13-7-9 0 0,-13 8 31 0 0,-19 5-290 0 0,11-2 235 0 0,1 0-65 0 0,1 2-453 0 0,-5 12 226 0 0,6-11-96 0 0,1 10-3110 0 0</inkml:trace>
</inkml:ink>
</file>

<file path=ppt/ink/ink1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0.12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57 217 8 0 0,'19'-27'0'0'0,"4"-2"91"0"0,4-4 1556 0 0,-3 2 1017 0 0,-2 2-133 0 0,-9 12-1446 0 0,-10 13-134 0 0,0 0-107 0 0,9-16 1963 0 0,-12 16-2206 0 0,0-11-70 0 0,0 11 333 0 0,-25 6-235 0 0,20-1-373 0 0,0 2-6 0 0,-27 14 210 0 0,2 1-31 0 0,22-15-366 0 0,3-1-2 0 0,0 1-1 0 0,0-1 0 0 0,1 1 1 0 0,-7 5-1 0 0,-115 78 339 0 0,82-56-365 0 0,-119 91-43 0 0,141-102-1 0 0,0 1 0 0 0,2 1 0 0 0,0 1 1 0 0,-31 45-1 0 0,33-38 32 0 0,1-1 0 0 0,-24 61 0 0 0,36-77 59 0 0,1-1-1 0 0,0 1 0 0 0,1 0 0 0 0,1 0 0 0 0,0 0 0 0 0,0 1 0 0 0,1-1 1 0 0,1 0-1 0 0,0 1 0 0 0,3 23 0 0 0,2-8 116 0 0,-5-27-176 0 0,0 0 0 0 0,1 0 0 0 0,-1 0 0 0 0,0 0-1 0 0,0 0 1 0 0,1 0 0 0 0,-1 0 0 0 0,1 0 0 0 0,-1 0 0 0 0,1 0 0 0 0,0 1 0 0 0,14 21 258 0 0,-6-12 30 0 0,12 11 9 0 0,-8-13-16 0 0,48 26 210 0 0,-49-29-418 0 0,0-1 0 0 0,0 0 0 0 0,0-1 0 0 0,18 3 0 0 0,-12-4-93 0 0,1-1 0 0 0,0-1 1 0 0,-1-1-1 0 0,1-1 0 0 0,0 0 0 0 0,-1-2 0 0 0,1 0 0 0 0,-1-1 0 0 0,0-1 0 0 0,24-9 0 0 0,-15 0-748 0 0,-20 10 532 0 0,-3 2-4 0 0,-1 1 1 0 0,0-1-1 0 0,0 0 0 0 0,0 0 0 0 0,0 0 0 0 0,4-4 0 0 0,-2 1-177 0 0,0 1-1147 0 0,14-20-3724 0 0,-8-6-5964 0 0</inkml:trace>
</inkml:ink>
</file>

<file path=ppt/ink/ink1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0.57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6 68 8 0 0,'0'0'1212'0'0,"-3"-2"187"0"0,-16-9 6258 0 0,22 7-7099 0 0,7-12-50 0 0,-8 12-23 0 0,2 2-5 0 0,11-5 0 0 0,-12 6-3 0 0,2-1-14 0 0,0 0-315 0 0,16-5 553 0 0,-17 6-570 0 0,15-2 481 0 0,8 0 28 0 0,0 1-86 0 0,-21 2-471 0 0,15 0 297 0 0,-7 2-191 0 0,-10-1-32 0 0,1 0-15 0 0,15 6-18 0 0,-15-6 101 0 0,-2 3-117 0 0,12 9-12 0 0,-11-10 66 0 0,-3 2-90 0 0,2 13-7 0 0,-2-14-5 0 0,-2 1-17 0 0,1 1-33 0 0,0-4-7 0 0,-1 0 1 0 0,1 0-1 0 0,0 0 0 0 0,0 0 0 0 0,-1 0 0 0 0,1 0 1 0 0,-1 0-1 0 0,0 0 0 0 0,-1 3 0 0 0,-7 16 7 0 0,-9 8-21 0 0,13-20 4 0 0,-18 20-51 0 0,-7 6-64 0 0,-6 2-19 0 0,-3 2 21 0 0,13-14 68 0 0,14-13 17 0 0,6-3 26 0 0,-20 21-27 0 0,0-2 30 0 0,16-18 5 0 0,6-7 3 0 0,0 1-1 0 0,1 0 1 0 0,0 0 0 0 0,-4 5-1 0 0,-4 8 3 0 0,8-13 4 0 0,-1 0 5 0 0,-11 18-5 0 0,4-2-5 0 0,9-17 25 0 0,4 1-16 0 0,6 13 7 0 0,-2-10 13 0 0,8 4-12 0 0,-10-8-5 0 0,2 2-5 0 0,0 0-5 0 0,-3-2-2 0 0,-1 0 1 0 0,1-1-1 0 0,0 0 0 0 0,0 0 1 0 0,0 1-1 0 0,0-2 1 0 0,5 3-1 0 0,-2 0 4 0 0,21 9 25 0 0,9 2-34 0 0,46 11 0 0 0,-79-26-20 0 0,-1 1 0 0 0,1 0 0 0 0,-1-1 1 0 0,1 1-1 0 0,-1 0 0 0 0,4 2 0 0 0,-4-2-33 0 0,1 0-1 0 0,-1 0 1 0 0,0 0-1 0 0,1 0 1 0 0,-1-1-1 0 0,0 1 1 0 0,1-1-1 0 0,3 1 1 0 0,1-1-121 0 0,-3 0-16 0 0,-1 1 0 0 0,0-1 0 0 0,0 1 0 0 0,1-1 1 0 0,-1 1-1 0 0,3 1 0 0 0,11 3-1238 0 0,7-6-7893 0 0</inkml:trace>
</inkml:ink>
</file>

<file path=ppt/ink/ink1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1.68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4 116 8 0 0,'-21'-23'0'0'0,"16"17"82"0"0,3 4 43 0 0,0 0 1 0 0,0-1 0 0 0,0 1 0 0 0,1-1 0 0 0,-1 0 0 0 0,1 1-1 0 0,-2-5 1 0 0,-5-11 2876 0 0,7 14-2032 0 0,-3-17 2652 0 0,4 17-2814 0 0,1-12 6029 0 0,3 43-6391 0 0,-2-11-299 0 0,-1-12 19 0 0,1 0 21 0 0,10 11 28 0 0,-9-11 22 0 0,1-2 9 0 0,0 2-166 0 0,-2-2-35 0 0,0-1 0 0 0,0 1 0 0 0,0-1 0 0 0,0 1 0 0 0,0-1 0 0 0,0 0 0 0 0,0 0 0 0 0,3 1 0 0 0,0 1 38 0 0,-4-2-41 0 0,1 0 0 0 0,0 0 0 0 0,0 0 0 0 0,0 0 0 0 0,0 0 0 0 0,0-1 0 0 0,0 1 0 0 0,0 0 0 0 0,4-1 0 0 0,1 2 40 0 0,-4 0-23 0 0,0-1 0 0 0,1-1 0 0 0,-1 1 0 0 0,1-1 0 0 0,-1 1 0 0 0,6-1-1 0 0,26 2 213 0 0,0-2 0 0 0,1-1 0 0 0,39-6-1 0 0,-41 2-235 0 0,-3 0-8 0 0,-17 4-21 0 0,-13 1 53 0 0,0 0 0 0 0,0 0 0 0 0,0-1 0 0 0,1 1 0 0 0,-1 0 0 0 0,0 0 1 0 0,0-1-1 0 0,0 1 0 0 0,-1 0 0 0 0,1-1 0 0 0,0 1 0 0 0,0-1 0 0 0,0 1 0 0 0,0-1 0 0 0,1-1 0 0 0</inkml:trace>
</inkml:ink>
</file>

<file path=ppt/ink/ink1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2.0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3 0 8 0 0,'0'0'1512'0'0,"-4"0"53"0"0,-19 0 3929 0 0,20 2-4667 0 0,-1 0-529 0 0,-11 4 2107 0 0,12-1-1999 0 0,-10 13-97 0 0,9-14-66 0 0,2 1-50 0 0,-1 0-139 0 0,1-4-29 0 0,1 1 1 0 0,0 0-1 0 0,0 0 1 0 0,0 0 0 0 0,0 0-1 0 0,0 0 1 0 0,0 0 0 0 0,-1 5-1 0 0,-5 18 171 0 0,4-20-168 0 0,2-2-5 0 0,0-1 0 0 0,0 1 0 0 0,0 0 0 0 0,0 0 0 0 0,-1 6 0 0 0,-5 27 161 0 0,-9 72 163 0 0,-1 109 0 0 0,20 22-358 0 0,1-193 7 0 0,2 1 0 0 0,2-1 1 0 0,14 45-1 0 0,-11-54-34 0 0,-10-34 32 0 0,-1-1-1 0 0,1 0 0 0 0,0 1 0 0 0,0-1 0 0 0,0 0 1 0 0,0 0-1 0 0,0 0 0 0 0,0 1 0 0 0,2 1 0 0 0,0 0-5 0 0,0 1 0 0 0,1-5-366 0 0,10 0-68 0 0,-13 0 431 0 0,-1 0 0 0 0,0 0 0 0 0,0 0-1 0 0,0 0 1 0 0,0 0 0 0 0,0 0 0 0 0,0 0-1 0 0,1 0 1 0 0,-1 0 0 0 0,0 0-1 0 0,0 0 1 0 0,0 0 0 0 0,0 0 0 0 0,0 0-1 0 0,1 0 1 0 0,-1 0 0 0 0,0 0 0 0 0,0 0-1 0 0,0 0 1 0 0,0 0 0 0 0,0 0 0 0 0,1 0-1 0 0,-1 0 1 0 0,0-1 0 0 0,0 1 0 0 0,0 0-1 0 0,0 0 1 0 0,0 0 0 0 0,0 0 0 0 0,0 0-1 0 0,0 0 1 0 0,1 0 0 0 0,-1-1 0 0 0,0 1-1 0 0,0 0 1 0 0,0 0 0 0 0,0 0 0 0 0,0 0-1 0 0,0 0 1 0 0,0 0 0 0 0,0-1 0 0 0,0 1-1 0 0,0 0 1 0 0,0 0 0 0 0,0 0 0 0 0,0 0-1 0 0,0-1 1 0 0,1-3-328 0 0,2-15-2145 0 0,-2 13 1760 0 0,0-3-238 0 0,0-6-2681 0 0,0 8 2633 0 0,0-19-2580 0 0,-1-5 3310 0 0</inkml:trace>
</inkml:ink>
</file>

<file path=ppt/ink/ink1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2.4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3 23 8 0 0,'5'-22'12696'0'0,"-9"26"-12289"0"0,-12 14-66 0 0,15-17-320 0 0,1-1 0 0 0,-1 1 0 0 0,1-1 0 0 0,-1 1 0 0 0,1-1 0 0 0,-1 1 0 0 0,1-1 0 0 0,0 1 0 0 0,-1 0 0 0 0,1-1 0 0 0,0 1 0 0 0,0-1 0 0 0,-1 2 0 0 0,-6 23 440 0 0,-4 6-93 0 0,-2 14-69 0 0,-12 79 0 0 0,2 58-180 0 0,20-154-113 0 0,-15 154-65 0 0,7 231-1 0 0,15-366 213 0 0,2 1 0 0 0,2-2-1 0 0,20 67 1 0 0,-19-84-128 0 0,1 9-35 0 0,-9-31 8 0 0,5 17-16 0 0,-4-21-28 0 0,-2-2-32 0 0,1 0 1 0 0,-1 0-1 0 0,1 1 0 0 0,-1-1 1 0 0,1 0-1 0 0,-1 0 1 0 0,0 0-1 0 0,1 1 1 0 0,-1-1-1 0 0,0 2 1 0 0,3-7-167 0 0,6-14-50 0 0,-6 13-44 0 0,-4 1-58 0 0,-1-24-1373 0 0,1 23 1474 0 0,1 3 122 0 0,0 0 0 0 0,0 0 0 0 0,0 0 0 0 0,0 1 1 0 0,-1-1-1 0 0,1 0 0 0 0,-1 0 0 0 0,1 0 0 0 0,-1 1 1 0 0,-1-4-1 0 0,-5-10-1405 0 0,1 0-3198 0 0,4 12 4178 0 0,1-1 0 0 0,-1 1 0 0 0,0 0 0 0 0,-4-6 0 0 0,-6-9 301 0 0</inkml:trace>
</inkml:ink>
</file>

<file path=ppt/ink/ink1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2.77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0 294 8 0 0,'-17'-30'0'0'0,"6"5"15"0"0,9 16 237 0 0,2-16 1990 0 0,2 21-901 0 0,6-13 13 0 0,-6 13-51 0 0,2 2-11 0 0,11-8-18 0 0,-11 7-50 0 0,1 2-57 0 0,1-1-803 0 0,-4 1-205 0 0,0 1 0 0 0,0-1 0 0 0,0 0 0 0 0,0 1 1 0 0,1-1-1 0 0,-1 1 0 0 0,0 0 0 0 0,0 0 0 0 0,0 0 0 0 0,3 0 0 0 0,1-1 151 0 0,-3 1-128 0 0,0 0-1 0 0,0 0 1 0 0,-1 0-1 0 0,1 0 1 0 0,0 0 0 0 0,0 1-1 0 0,5 0 1 0 0,140 30 3068 0 0,-120-27-2835 0 0,0-1 0 0 0,-1-1 1 0 0,1-1-1 0 0,0-2 0 0 0,0-1 0 0 0,41-7 1 0 0,-8-4-119 0 0,108-38-1 0 0,53-41-2124 0 0,-198 82 487 0 0,0-2-977 0 0,-6 2-47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2.01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8 2 8 0 0,'24'-1'5086'0'0,"-29"4"-3875"0"0,0-1 0 0 0,-1 0 0 0 0,1 0 0 0 0,-1 0 0 0 0,0 0 0 0 0,-10 1 0 0 0,-9 2 28 0 0,16-2-1074 0 0,1 0 0 0 0,0 0 1 0 0,-1 1-1 0 0,1 0 0 0 0,1 0 1 0 0,-1 1-1 0 0,1 0 0 0 0,0 0 0 0 0,0 1 1 0 0,0 0-1 0 0,1 0 0 0 0,0 1 0 0 0,0 0 1 0 0,0 0-1 0 0,1 0 0 0 0,-7 12 1 0 0,1 3-109 0 0,1 0 0 0 0,1 0 1 0 0,1 1-1 0 0,-10 45 0 0 0,16-59-33 0 0,1 1-1 0 0,-1 0 0 0 0,1-1 0 0 0,1 19 1 0 0,0-27-15 0 0,1 0 0 0 0,-1 0 1 0 0,0 0-1 0 0,0-1 0 0 0,0 1 1 0 0,1 0-1 0 0,-1 0 0 0 0,0 0 1 0 0,1 0-1 0 0,-1-1 0 0 0,1 1 1 0 0,-1 0-1 0 0,1 0 0 0 0,-1-1 1 0 0,1 1-1 0 0,1 1 0 0 0,1-2 59 0 0,9 2-10 0 0,-6-3-16 0 0,-2 0-37 0 0,-3 0-9 0 0,0 1 0 0 0,1-1 1 0 0,-1 1-1 0 0,0-1 0 0 0,0 0 1 0 0,0 1-1 0 0,1-1 0 0 0,-1 0 0 0 0,0 0 1 0 0,0 0-1 0 0,2-2 0 0 0,17-18-527 0 0,0-1-1 0 0,-1-1 0 0 0,18-30 1 0 0,-1 3-437 0 0,-17 25 537 0 0,-3 3 352 0 0,1 0-1 0 0,35-35 1 0 0,-52 57 81 0 0,0-1 1 0 0,1 1-1 0 0,-1-1 1 0 0,1 1-1 0 0,-1 0 1 0 0,1-1 0 0 0,0 1-1 0 0,-1 0 1 0 0,1-1-1 0 0,-1 1 1 0 0,1 0-1 0 0,-1-1 1 0 0,1 1-1 0 0,0 0 1 0 0,-1 0-1 0 0,1 0 1 0 0,0 0 0 0 0,-1 0-1 0 0,1 0 1 0 0,0 0-1 0 0,-1 0 1 0 0,2 0-1 0 0,0 0 13 0 0,-2 0-13 0 0,0 0 1 0 0,0 0-1 0 0,0 0 0 0 0,0 0 0 0 0,0 0 0 0 0,1 0 1 0 0,-1 0-1 0 0,0 0 0 0 0,0 0 0 0 0,0 0 0 0 0,0 0 1 0 0,0 0-1 0 0,0 0 0 0 0,1 0 0 0 0,-1 0 0 0 0,0 0 1 0 0,0 0-1 0 0,0 0 0 0 0,0 0 0 0 0,0 0 0 0 0,0 0 1 0 0,0 0-1 0 0,1 0 0 0 0,-1 0 0 0 0,0 0 0 0 0,0 0 1 0 0,0 0-1 0 0,0 0 0 0 0,0 0 0 0 0,0 1 0 0 0,0-1 1 0 0,0 0-1 0 0,0 0 0 0 0,0 0 0 0 0,0 0 0 0 0,1 0 1 0 0,-1 0-1 0 0,0 0 0 0 0,0 1 0 0 0,1 2 42 0 0,1 0 0 0 0,-1 0 0 0 0,0 0 0 0 0,0 0 0 0 0,0 1 0 0 0,0-1 0 0 0,-1 0 0 0 0,1 6 0 0 0,-2 33 221 0 0,-9 67-1 0 0,-1-2-133 0 0,10-87-171 0 0,0 62 46 0 0,1-69-388 0 0,1 0 1 0 0,0 0-1 0 0,7 24 1 0 0,-7-34-415 0 0,10 4-1633 0 0,-11-7 2392 0 0,0 0-36 0 0,0 0 36 0 0,1 0 0 0 0,-1 0 0 0 0,0 0 0 0 0,0 0 0 0 0,0 0 0 0 0,0 0 0 0 0,0 0 0 0 0,0 0 0 0 0,0 0 0 0 0,1 0 0 0 0,-1 0 0 0 0,0 0 0 0 0,0 0 0 0 0,0 0 1 0 0,0 0-1 0 0,0 0 0 0 0,0 0 0 0 0,0 0 0 0 0,1 0 0 0 0,-1 0 0 0 0,0 0 0 0 0,0 0 0 0 0,0 0 0 0 0,0 0 0 0 0,0 0 0 0 0,0 0 0 0 0,0 0 0 0 0,1 0 0 0 0,-1 0 1 0 0,0 0-1 0 0,0 0 0 0 0,0 0 0 0 0,0 0 0 0 0,0-1-74 0 0,0 1 74 0 0,0 0 0 0 0,0 0 0 0 0,1 0 0 0 0,-1 0 0 0 0,0 0 0 0 0,0 0 0 0 0,0 0 1 0 0,0-1-1 0 0,6-6-1839 0 0,-1 0 1 0 0,0 0-1 0 0,7-14 1 0 0,-4 3 216 0 0</inkml:trace>
</inkml:ink>
</file>

<file path=ppt/ink/ink1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3.2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6 42 8 0 0,'0'0'9410'0'0,"-4"-2"-8276"0"0,-11-4-233 0 0,11 4-219 0 0,-16 12 170 0 0,16-8-640 0 0,-1 1-83 0 0,-1 0-101 0 0,-18 12 43 0 0,3 0-79 0 0,15-11-11 0 0,2 1-9 0 0,-2 1 19 0 0,2-2 2 0 0,1-1-1 0 0,0 1 0 0 0,0 0 0 0 0,-3 6 0 0 0,-6 8-5 0 0,3 1 20 0 0,7-16 19 0 0,2 1 29 0 0,-4 11 26 0 0,4-12 531 0 0,17-5-380 0 0,-12 0-196 0 0,0 1 36 0 0,19-19 23 0 0,-19 16-64 0 0,1-1 2 0 0,24-26 7 0 0,-5 9-25 0 0,-8 3-5 0 0,1-9-135 0 0,-2 6-247 0 0,-5 5 271 0 0,-8 13-9 0 0,-7 3-822 0 0,-13-2 841 0 0,13 2-9 0 0,0 5 23 0 0,-20 20-23 0 0,2-1 173 0 0,17-18-46 0 0,-12 15 172 0 0,-2 6 161 0 0,16-22-301 0 0,2-2-33 0 0,-1-1 0 0 0,1 1 0 0 0,0-1 0 0 0,0 1 0 0 0,0 0 0 0 0,0-1 1 0 0,0 1-1 0 0,0 0 0 0 0,0 2 0 0 0,-5 12 71 0 0,4-12-42 0 0,1 1-44 0 0,-1 0-26 0 0,1-3-13 0 0,0 0-1 0 0,0 0 1 0 0,1 0 0 0 0,-1 0 0 0 0,1-1-1 0 0,0 1 1 0 0,0 0 0 0 0,-1 0 0 0 0,1 0-1 0 0,1 3 1 0 0,-1 7-170 0 0,0 1-4449 0 0,0-1 2748 0 0</inkml:trace>
</inkml:ink>
</file>

<file path=ppt/ink/ink1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3.76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88 21 8 0 0,'0'0'12005'0'0,"-4"-2"-11045"0"0,-19-10 723 0 0,-22 7 1514 0 0,41 5-2701 0 0,-1 0-38 0 0,-1-1-318 0 0,4 1-76 0 0,0 0 0 0 0,0-1 1 0 0,0 1-1 0 0,0 0 0 0 0,0 0 0 0 0,0 1 1 0 0,0-1-1 0 0,0 0 0 0 0,-3 2 1 0 0,-18 3 499 0 0,-4 2-250 0 0,20-6-283 0 0,-19 7 61 0 0,-5 3-81 0 0,-8 5-144 0 0,0 2 1 0 0,2 2 0 0 0,0 1 0 0 0,1 2-1 0 0,1 2 1 0 0,2 1 0 0 0,0 1-1 0 0,2 2 1 0 0,-31 36 0 0 0,-16 31-73 0 0,59-70 131 0 0,-29 51-1 0 0,46-72 79 0 0,-3 3 9 0 0,1 1 0 0 0,0 0 0 0 0,-3 14 0 0 0,4-16 0 0 0,1-4-3 0 0,1 1 0 0 0,0-1 0 0 0,0 0 0 0 0,0 1 1 0 0,0-1-1 0 0,0 1 0 0 0,1 4 0 0 0,-4 16 39 0 0,4-12 2 0 0,1-7-32 0 0,-1-3-8 0 0,0 0-1 0 0,0 0 1 0 0,0 0-1 0 0,0 0 1 0 0,1 0-1 0 0,-1 0 1 0 0,1 0-1 0 0,0 0 1 0 0,-1 0-1 0 0,3 2 0 0 0,5 16 69 0 0,-3-12 0 0 0,-1-3-54 0 0,-3-3-6 0 0,1 1 0 0 0,0-1 0 0 0,0 0-1 0 0,0 0 1 0 0,0 0 0 0 0,4 3 0 0 0,-1-1 13 0 0,-2-1 0 0 0,0 0 0 0 0,0 0 0 0 0,1-1 0 0 0,5 4 0 0 0,-4-2-6 0 0,-3-2-14 0 0,1-1 1 0 0,-1 1-1 0 0,1 0 0 0 0,-1-1 0 0 0,1 0 1 0 0,0 1-1 0 0,3 0 0 0 0,23 9 0 0 0,-19-7-17 0 0,-6-2-8 0 0,0-1-1 0 0,0 0 1 0 0,0 0 0 0 0,0 0-1 0 0,0 0 1 0 0,5 0 0 0 0,2 0-123 0 0,4 2-469 0 0,1-2 0 0 0,0 0 0 0 0,0 0 0 0 0,0-2-1 0 0,22-2 1 0 0,-30 2 91 0 0,-3 0-155 0 0,0 0 0 0 0,0 0 1 0 0,-1 0-1 0 0,7-2 0 0 0,-4 1-217 0 0,3 0-253 0 0,5-5-2993 0 0,-8 5 3023 0 0,-3 0 206 0 0,0 1 0 0 0,-1-1-1 0 0,1 0 1 0 0,6-4 0 0 0,17-11 464 0 0</inkml:trace>
</inkml:ink>
</file>

<file path=ppt/ink/ink1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4.6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9 139 8 0 0,'-22'-7'10133'0'0,"20"3"-9013"0"0,-9-14 1665 0 0,14 13-2363 0 0,7-15 8 0 0,-8 15 34 0 0,3 0 35 0 0,17-15 7 0 0,-12 13-20 0 0,23-11 386 0 0,-26 15-738 0 0,-1 0 24 0 0,1 0 1 0 0,0 0-1 0 0,0 1 0 0 0,1 0 0 0 0,10-2 0 0 0,107-5 1574 0 0,-122 9-1708 0 0,0 0 0 0 0,0 0 0 0 0,0 0 0 0 0,-1 0-1 0 0,1 1 1 0 0,0-1 0 0 0,0 1 0 0 0,4 1-1 0 0,0 0 3 0 0,-4-1-17 0 0,-1-1 0 0 0,0 0 0 0 0,1 1-1 0 0,-1 0 1 0 0,1 0 0 0 0,-1-1 0 0 0,0 1-1 0 0,5 3 1 0 0,-2-1 4 0 0,17 8 32 0 0,-17-8-35 0 0,0 0 23 0 0,-1 2-13 0 0,11 21-8 0 0,-13-22-14 0 0,-1 0 0 0 0,0 0 0 0 0,0 0 0 0 0,0 0 0 0 0,-1 0 0 0 0,1 0 0 0 0,-1 1 0 0 0,0-1-1 0 0,-1 9 1 0 0,1-11 2 0 0,0 1-3 0 0,0 0 0 0 0,-1 0 0 0 0,1 0 0 0 0,-1 0 0 0 0,1 0-1 0 0,-1 0 1 0 0,-2 5 0 0 0,0-1-1 0 0,-2 5-7 0 0,2-5 6 0 0,-14 21-30 0 0,12-20 25 0 0,2-2-8 0 0,-1-1 1 0 0,0 1 0 0 0,-6 6-1 0 0,-22 28-85 0 0,-3 0 25 0 0,28-32 69 0 0,-20 24-22 0 0,-4 2 15 0 0,15-16 16 0 0,14-16 2 0 0,-1 1 1 0 0,1-1-1 0 0,-1 1 1 0 0,1-1-1 0 0,-1 0 0 0 0,-3 3 1 0 0,0-1 1 0 0,2-1 365 0 0,8-1-330 0 0,1 0-27 0 0,-4-2-6 0 0,1 1-1 0 0,-1 0 1 0 0,1-1 0 0 0,0 1-1 0 0,-1-1 1 0 0,1 0 0 0 0,0 1-1 0 0,-1-1 1 0 0,1 0 0 0 0,0 0-1 0 0,3 0 1 0 0,24 0-12 0 0,-9 2-4 0 0,-12 0-5 0 0,15 8-17 0 0,-18-9 27 0 0,-3 0 3 0 0,1-1-1 0 0,-1 1 1 0 0,0 0-1 0 0,0 0 1 0 0,1 0-1 0 0,3 3 1 0 0,18 11-8 0 0,-4-2 4 0 0,3 7 4 0 0,-19-16 3 0 0,-1 0 0 0 0,0 1-1 0 0,1-1 1 0 0,2 6-1 0 0,-5-7 2 0 0,1 0 0 0 0,-1 0 0 0 0,0 0 1 0 0,0 0-1 0 0,0 1 0 0 0,0 5 0 0 0,-1-6 3 0 0,0 1 1 0 0,0 0-1 0 0,-1-1 0 0 0,1 1 1 0 0,-1 0-1 0 0,0-1 1 0 0,0 1-1 0 0,0 0 0 0 0,-3 4 1 0 0,4-8-6 0 0,-1 3 5 0 0,0-1 0 0 0,0 0-1 0 0,0 0 1 0 0,0 0-1 0 0,0 0 1 0 0,-1 0-1 0 0,1 0 1 0 0,-4 3-1 0 0,1 0 5 0 0,2-2-2 0 0,0 0 0 0 0,-1 0 1 0 0,1 0-1 0 0,-1 0 0 0 0,0 0 0 0 0,-4 3 1 0 0,1-1 0 0 0,-23 22 15 0 0,21-20-18 0 0,0 1 0 0 0,-16 9 23 0 0,-90 48 7 0 0,74-43-51 0 0,26-15-36 0 0,-2 1 6 0 0,0-2-79 0 0,10-3 70 0 0,3-2-11 0 0,0 1 0 0 0,0-1 0 0 0,0 0-1 0 0,0 0 1 0 0,-6 1 0 0 0,5-1-85 0 0,-11 2-1555 0 0,1-6-717 0 0,10 2 1754 0 0</inkml:trace>
</inkml:ink>
</file>

<file path=ppt/ink/ink1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5.36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1 0 8 0 0,'-25'1'0'0'0,"1"1"0"0"0,-1 3 0 0 0,-22 5 20347 0 0,51-8-20243 0 0,11 8-8 0 0,-15-10-91 0 0,0 0-1 0 0,1 1 1 0 0,-1-1 0 0 0,0 0 0 0 0,1 0-1 0 0,-1 0 1 0 0,0 1 0 0 0,1-1-1 0 0,-1 0 1 0 0,0 0 0 0 0,1 0-1 0 0,-1 0 1 0 0,1 0 0 0 0,-1 0 0 0 0,1 0-1 0 0,-1 0 1 0 0,0 0 0 0 0,1 0-1 0 0,24 0 155 0 0,3 1-38 0 0,4 1-17 0 0,1-2-6 0 0,3 3 35 0 0,-28-2-99 0 0,-3-1 8 0 0,-1 1 0 0 0,1-1 1 0 0,0 0-1 0 0,9-1 1 0 0,151-3 895 0 0,-137 4-851 0 0,-23-1-79 0 0,16 2 43 0 0,-6 1-43 0 0,-12-2 56 0 0,-4 0-63 0 0,1 0-1 0 0,-1 0 1 0 0,0 0 0 0 0,0 0 0 0 0,0 0 0 0 0,0 0-1 0 0,0 1 1 0 0,1-1 0 0 0,-1 0 0 0 0,0 0-1 0 0,0 1 1 0 0,0-1 0 0 0,-1 1 0 0 0,1 0-5 0 0,0 0 1 0 0,-1-1 0 0 0,1 1-1 0 0,-1-1 1 0 0,1 1-1 0 0,-1-1 1 0 0,1 0-1 0 0,-1 1 1 0 0,0-1 0 0 0,-1 0-1 0 0,-21 2-431 0 0,7-2 162 0 0,13 0-90 0 0,0 0-103 0 0,-11 0-121 0 0,12 0-139 0 0,-1 0-169 0 0,-11-2-220 0 0,12 2-320 0 0,-5-2-1361 0 0,1-1 1881 0 0,-23-12-11705 0 0</inkml:trace>
</inkml:ink>
</file>

<file path=ppt/ink/ink1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5.7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57 92 8 0 0,'-11'-24'0'0'0,"-2"-4"0"0"0,11 26 0 0 0,-11-22 0 0 0,12 23 0 0 0,1 0 0 0 0,-1 0 0 0 0,0 0 0 0 0,0 0 0 0 0,0 0 0 0 0,0 0 0 0 0,0 0 0 0 0,0 1 0 0 0,0-1 0 0 0,-1 0 0 0 0,1 1 0 0 0,0-1 0 0 0,0 1 0 0 0,-1-1 0 0 0,1 1 0 0 0,-2-1 0 0 0,1 1 10 0 0,1 0 0 0 0,-1 0 0 0 0,1 1 0 0 0,0-1 1 0 0,-1 0-1 0 0,1 1 0 0 0,0-1 0 0 0,-1 1 0 0 0,1 0 0 0 0,0-1 0 0 0,-3 3 0 0 0,4-3-10 0 0,-4 2 623 0 0,3 2 195 0 0,-6 11 55 0 0,6-12 27 0 0,-1 2 31 0 0,-3 11 8 0 0,4-12-12 0 0,0 1 4 0 0,-2 13-11 0 0,2-14-10 0 0,4 14 582 0 0,-2-13-1208 0 0,0-1 545 0 0,0 1-48 0 0,1 1-540 0 0,-2-4-79 0 0,1 1 0 0 0,-1-1 0 0 0,1 1 0 0 0,-1 0 0 0 0,0-1 0 0 0,0 6 0 0 0,-2 31 1515 0 0,-1-21-990 0 0,-3 0-121 0 0,5-11-456 0 0,-6 22 360 0 0,-87 203 300 0 0,83-208-791 0 0,-10 24-100 0 0,13-29 31 0 0,6-14-27 0 0,1-1-20 0 0,-4 11-26 0 0,4-12-40 0 0,15-23-7329 0 0,4-6-2018 0 0</inkml:trace>
</inkml:ink>
</file>

<file path=ppt/ink/ink1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01.78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2 79 8 0 0,'-20'-16'72'0'0,"15"13"295"0"0,4 1-261 0 0,0 1-1 0 0,-1 0 1 0 0,1 0 0 0 0,-1-1 0 0 0,-13-6 6218 0 0,13 4-5546 0 0,-8-14 6469 0 0,8 14-6926 0 0,-6-11-28 0 0,6 12 942 0 0,4 7-1197 0 0,6 14 0 0 0,-6-13-6 0 0,1 0-2 0 0,14 24 40 0 0,2 2 14 0 0,56 98 407 0 0,75 153 985 0 0,-69-141-1072 0 0,-6 4-1 0 0,79 216 0 0 0,-132-299-355 0 0,-3 2 0 0 0,-3-1 0 0 0,15 115 0 0 0,-29-150-25 0 0,-1 0 0 0 0,-2 0 0 0 0,-1 0 0 0 0,-1-1 0 0 0,-1 1 0 0 0,-1-1 0 0 0,-2 1 0 0 0,0-2 0 0 0,-2 1 0 0 0,-1-1 0 0 0,-1 0 0 0 0,-2-1 0 0 0,0-1 0 0 0,-1 0 0 0 0,-19 24 0 0 0,29-44-22 0 0,1 0 0 0 0,-1 0 0 0 0,1 0 0 0 0,-8 6 0 0 0,4-4-8 0 0,-16 14-89 0 0,18-16 68 0 0,3-2 7 0 0,0-1 0 0 0,1 1 1 0 0,-1-1-1 0 0,0 0 1 0 0,0 0-1 0 0,0 0 1 0 0,1 0-1 0 0,-4 1 1 0 0,1 0-32 0 0,0 0-154 0 0,-1 0-74 0 0,-13 4-95 0 0,14-4-70 0 0,60-35-18657 0 0,-33 27 18678 0 0</inkml:trace>
</inkml:ink>
</file>

<file path=ppt/ink/ink1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06.35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31 8 0 0,'5'-22'0'0'0,"2"0"0"0"0,-3 3 137 0 0,-3 16 657 0 0,1-2 555 0 0,7-15 48 0 0,-7 15-141 0 0,0 1-136 0 0,8-14 1844 0 0,-6 16-2524 0 0,14-6-63 0 0,-17 7-364 0 0,-1 1 1 0 0,0 0-1 0 0,1 0 0 0 0,-1 0 1 0 0,0-1-1 0 0,1 1 0 0 0,-1 0 1 0 0,0 0-1 0 0,0 0 0 0 0,1 0 1 0 0,-1 0-1 0 0,0 0 0 0 0,1 0 1 0 0,-1 0-1 0 0,0 0 0 0 0,1 0 1 0 0,-1 0-1 0 0,0 0 0 0 0,1 0 1 0 0,-1 0-1 0 0,0 0 1 0 0,1 0-1 0 0,-1 0 0 0 0,1 1 1 0 0,3 0 90 0 0,15 6 373 0 0,11 9-44 0 0,6 2-135 0 0,3 4-90 0 0,91 56 208 0 0,-108-63-371 0 0,-2-3 22 0 0,-9-7-6 0 0,27 15 197 0 0,-31-17-213 0 0,-4-1-19 0 0,1-1-1 0 0,-1 1 1 0 0,0 0-1 0 0,0 0 1 0 0,0 0-1 0 0,4 4 1 0 0,-2-3 3 0 0,-3-2-14 0 0,0 0 1 0 0,0 0 0 0 0,-1 0 0 0 0,1 1-1 0 0,0-1 1 0 0,-1 1 0 0 0,1-1 0 0 0,-1 1 0 0 0,3 3-1 0 0,0 0 15 0 0,11 15 104 0 0,-11-15-115 0 0,-2-2-9 0 0,0 0-1 0 0,0 0 1 0 0,0 0-1 0 0,0 1 1 0 0,1 4-1 0 0,7 18 7 0 0,-1 1 0 0 0,9 44 0 0 0,19 128-164 0 0,67 431-3255 0 0,-87-443 857 0 0,-10 286-1 0 0,-20-254 252 0 0,-43 219 1 0 0,-67 180 2294 0 0,106-544 0 0 0,-1-2 0 0 0</inkml:trace>
</inkml:ink>
</file>

<file path=ppt/ink/ink1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4.50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1 38 8 0 0,'-19'-19'40'0'0,"16"16"1050"0"0,1 1-877 0 0,1 1 0 0 0,-1 0 1 0 0,1 0-1 0 0,-1-1 0 0 0,1 1 1 0 0,-4-1-1 0 0,-3-3 2364 0 0,-13 5-1570 0 0,17 0 165 0 0,0 2-792 0 0,-17 11 1848 0 0,18-10-1815 0 0,-10 12-27 0 0,10-11 559 0 0,1 0-712 0 0,-3 12-44 0 0,4-11 683 0 0,12-5-818 0 0,0 0-10 0 0,-8-4-58 0 0,7-11-20 0 0,-8 11-6 0 0,0 1-194 0 0,6-12 193 0 0,-6 11-14 0 0,-4 8-261 0 0,-10 13 299 0 0,8-8 9 0 0,-3 19 29 0 0,-1 11 17 0 0,7-37-41 0 0,1-1 0 0 0,0 1 0 0 0,-1 0 0 0 0,1-1 0 0 0,0 1 0 0 0,0 0 0 0 0,0-1 0 0 0,0 3 0 0 0,1 5-114 0 0,-1-7 52 0 0,0 0-1 0 0,0-1 1 0 0,1 1 0 0 0,-1 0 0 0 0,0-1 0 0 0,1 1 0 0 0,-1 0 0 0 0,1-1 0 0 0,0 2 0 0 0,1 2-169 0 0,-1-1-902 0 0,29 11-9122 0 0</inkml:trace>
</inkml:ink>
</file>

<file path=ppt/ink/ink1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4.95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47 10 8 0 0,'-4'-1'4213'0'0,"0"-1"-3601"0"0,-10-4 3417 0 0,10 6-2606 0 0,-1 0-940 0 0,3 0-132 0 0,0 0 1 0 0,0 0-1 0 0,0 0 0 0 0,0 0 0 0 0,0 1 1 0 0,1-1-1 0 0,-1 1 0 0 0,-3 0 1 0 0,-11 4 592 0 0,12-4-113 0 0,-1 2-108 0 0,-19 11 912 0 0,7-5-1257 0 0,13-7-68 0 0,-1 0-76 0 0,-2 1-172 0 0,3-1-13 0 0,0 0 0 0 0,1 0-1 0 0,-1 0 1 0 0,-5 5 0 0 0,4-4-17 0 0,-14 12 84 0 0,-7 8-31 0 0,20-18-79 0 0,-18 18 24 0 0,-9 13-11 0 0,-69 100 53 0 0,71-87-65 0 0,2 0-1 0 0,2 2 1 0 0,2 2 0 0 0,3 0-1 0 0,-21 74 1 0 0,18-38 125 0 0,-13 103-1 0 0,7 96-58 0 0,27-199 20 0 0,16 176-1 0 0,-7-224-68 0 0,1-1 0 0 0,3 0 0 0 0,1 0 0 0 0,2 0 0 0 0,2-2 0 0 0,1 1 0 0 0,2-2 0 0 0,2 0 0 0 0,29 42 0 0 0,-17-34-20 0 0,1-2 0 0 0,48 47 0 0 0,-74-84-9 0 0,1 1-1 0 0,0-2 0 0 0,1 1 0 0 0,14 9 0 0 0,-14-10 1 0 0,-4-2-4 0 0,1 0 0 0 0,-1 0 0 0 0,1 0 1 0 0,8 3-1 0 0,-6-2-7 0 0,-3-2-5 0 0,0 0 0 0 0,-1 0 0 0 0,1 0 0 0 0,0-1 0 0 0,7 2 0 0 0,-5 0-20 0 0,18 3-242 0 0,-7-2 27 0 0,-13-4-77 0 0,1 0-102 0 0,15-4-126 0 0,-16 3-182 0 0,17-15-3505 0 0,-14-9-4640 0 0,-8 13 5035 0 0,-1-6 3258 0 0</inkml:trace>
</inkml:ink>
</file>

<file path=ppt/ink/ink1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5.40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7 796 8 0 0,'-4'1'1036'0'0,"-19"11"5311"0"0,3 4 577 0 0,17-19-6254 0 0,-11-12-70 0 0,14 15-580 0 0,0 0 0 0 0,0-1 0 0 0,-1 1 0 0 0,1 0 1 0 0,0 0-1 0 0,0-1 0 0 0,0 1 0 0 0,-1 0 0 0 0,1 0 1 0 0,0-1-1 0 0,0 1 0 0 0,0 0 0 0 0,0-1 0 0 0,0 1 1 0 0,0 0-1 0 0,-1-1 0 0 0,1 1 0 0 0,0 0 0 0 0,0 0 1 0 0,0-1-1 0 0,0 1 0 0 0,0 0 0 0 0,0-1 1 0 0,0 1-1 0 0,0 0 0 0 0,1-1 0 0 0,1-27 983 0 0,-1 22-853 0 0,4-19 539 0 0,23-55 286 0 0,-3 25-573 0 0,3 1 0 0 0,2 1 1 0 0,2 2-1 0 0,3 1 0 0 0,44-49 1 0 0,56-49 205 0 0,-85 90-323 0 0,17-17 285 0 0,-49 61-480 0 0,-14 11-75 0 0,-4 5-17 0 0,0 0 0 0 0,-1 1 0 0 0,1-1 1 0 0,0 0-1 0 0,-1 0 0 0 0,1 0 0 0 0,-2 4 0 0 0,0 0-2 0 0,-51 168-55 0 0,18-64 178 0 0,-101 391-2502 0 0,124-454 2035 0 0,-3 9-487 0 0,9-31-285 0 0,5-21 240 0 0,20-31-10284 0 0,-13 15 8062 0 0,-4 6 2197 0 0,4-11-207 0 0,8-17-1 0 0,-2 11 1113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2.3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2 0 1264 0 0,'-2'3'5984'0'0,"-1"-1"-5548"0"0,2-1-267 0 0,0-1 1 0 0,0 1-1 0 0,0 0 1 0 0,0 0-1 0 0,0 0 1 0 0,1 0-1 0 0,-1 0 1 0 0,0 0-1 0 0,1 0 1 0 0,-1 0-1 0 0,0 0 1 0 0,0 2-1 0 0,-14 27 2302 0 0,-1 0-1414 0 0,-16 44-1 0 0,14-18-196 0 0,3 0 0 0 0,-15 113-1 0 0,30-167-288 0 0,14-3-169 0 0,-14 1-399 0 0,1 0 1 0 0,-1 0 0 0 0,0 0 0 0 0,0 0 0 0 0,0 0 0 0 0,1 0 0 0 0,-1 0-1 0 0,0 0 1 0 0,0 0 0 0 0,1-1 0 0 0,-1 1 0 0 0,0 0 0 0 0,0 0 0 0 0,0 0-1 0 0,1 0 1 0 0,-1 0 0 0 0,0 0 0 0 0,0-1 0 0 0,0 1 0 0 0,0 0 0 0 0,1 0 0 0 0,-1 0-1 0 0,0-1 1 0 0,0 1 0 0 0,0 0 0 0 0,0 0 0 0 0,0 0 0 0 0,0-1 0 0 0,53-88 157 0 0,5-7-188 0 0,26-14 166 0 0,-69 94-87 0 0,1 0 1 0 0,0 1-1 0 0,1 0 0 0 0,23-14 0 0 0,-37 27-49 0 0,0 0 0 0 0,0 1 0 0 0,0-1 0 0 0,0 1 0 0 0,0-1 0 0 0,1 1 0 0 0,-1 0 0 0 0,0 0 0 0 0,1 1-1 0 0,5-1 1 0 0,-4 2 21 0 0,7 7 8 0 0,-7-2 8 0 0,-2-1-36 0 0,-1 1-1 0 0,0 0 0 0 0,0 0 0 0 0,0 0 1 0 0,-1 0-1 0 0,0 1 0 0 0,0-1 1 0 0,-1 0-1 0 0,0 0 0 0 0,-1 12 0 0 0,-28 131 77 0 0,-3 23-214 0 0</inkml:trace>
</inkml:ink>
</file>

<file path=ppt/ink/ink1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5.7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0 59 8 0 0,'-49'-34'12593'0'0,"52"30"-11888"0"0,12-11-59 0 0,-11 12-60 0 0,1 2-57 0 0,23-1 391 0 0,11 2 165 0 0,-14 2-504 0 0,-21-1-340 0 0,1 1-34 0 0,15 6-41 0 0,-15-6-50 0 0,-1 1-38 0 0,12 8-34 0 0,-12-8-18 0 0,1 0-10 0 0,13 9-11 0 0,2 3-35 0 0,-15-11 19 0 0,-1-1-45 0 0,0 1-382 0 0,10 13 165 0 0,-10-13-70 0 0,15 0-4391 0 0</inkml:trace>
</inkml:ink>
</file>

<file path=ppt/ink/ink1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6.09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26 11 4377 0 0,'0'0'9907'0'0,"-4"-2"-9212"0"0,-11-4-140 0 0,12 4-166 0 0,0 6-146 0 0,-15 18-52 0 0,14-18-180 0 0,-12 16-5 0 0,-7 13-34 0 0,5-3-39 0 0,-24 50-1 0 0,17-10-10 0 0,3 1 0 0 0,-17 95 0 0 0,-10 151 102 0 0,42-265-43 0 0,-25 214 50 0 0,31-260-29 0 0,-1 25 13 0 0,0 8-10 0 0,2-17-2232 0 0,6-57-711 0 0,-1 5 562 0 0,9-47-5651 0 0,-7 50 7568 0 0</inkml:trace>
</inkml:ink>
</file>

<file path=ppt/ink/ink1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6.43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2 35 8 0 0,'-4'3'831'0'0,"-11"7"984"0"0,8-4-65 0 0,3-2-1264 0 0,2-2-268 0 0,1-1 0 0 0,-1 1-1 0 0,1 0 1 0 0,-1 0 0 0 0,1-1-1 0 0,0 1 1 0 0,0 0 0 0 0,0 0-1 0 0,-1 3 1 0 0,-10 19 2152 0 0,5-9-1193 0 0,6-12-28 0 0,1-2-1049 0 0,0 0 0 0 0,0 0 0 0 0,-1 0 0 0 0,1 0 0 0 0,0 0 0 0 0,0 0 1 0 0,0 0-1 0 0,0 0 0 0 0,-1-1 0 0 0,1 1 0 0 0,0 0 0 0 0,-1 0 0 0 0,0 1 1 0 0,0-1 128 0 0,1 0-1 0 0,-1-1 1 0 0,1 1 0 0 0,0 0 0 0 0,-1 0 0 0 0,1 0 0 0 0,0 0 0 0 0,0-1 0 0 0,-1 1 0 0 0,1 0 0 0 0,0 0 0 0 0,0 0 0 0 0,0 2 0 0 0,4-1 235 0 0,11 8-53 0 0,-15-10-400 0 0,0 0 0 0 0,0 0 0 0 0,0 1 0 0 0,0-1 0 0 0,1 0-1 0 0,-1 0 1 0 0,0 0 0 0 0,0 0 0 0 0,0 0 0 0 0,1 0 0 0 0,-1 0 0 0 0,0 1 0 0 0,0-1 0 0 0,0 0 0 0 0,1 0-1 0 0,-1 0 1 0 0,0 0 0 0 0,0 0 0 0 0,1 0 0 0 0,-1 0 0 0 0,0 0 0 0 0,0 0 0 0 0,1 0 0 0 0,-1 0 0 0 0,0 0 0 0 0,0 0-1 0 0,0 0 1 0 0,1-1 0 0 0,-1 1 0 0 0,0 0 0 0 0,0 0 0 0 0,0 0 0 0 0,1 0 0 0 0,23-11 646 0 0,12-7-91 0 0,8-4-219 0 0,2 3 0 0 0,54-16 1 0 0,103-18-606 0 0,-199 52 161 0 0,-1 0 0 0 0,1 1 0 0 0,-1-1 0 0 0,1 1 0 0 0,0 0 0 0 0,3 0 0 0 0,1 0-98 0 0,25 0-1589 0 0,-31 0 1593 0 0,0-1 0 0 0,-1 1-1 0 0,1 0 1 0 0,0 1 0 0 0,-1-1 0 0 0,1 0-1 0 0,0 0 1 0 0,-1 1 0 0 0,1-1 0 0 0,0 1 0 0 0,-1-1-1 0 0,3 2 1 0 0,0 0-397 0 0,21 13-7694 0 0</inkml:trace>
</inkml:ink>
</file>

<file path=ppt/ink/ink1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6.78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2 98 8 0 0,'0'0'7240'0'0,"-3"-5"-6181"0"0,1 1-732 0 0,0 1-65 0 0,1 1 0 0 0,0 0 0 0 0,0 0 0 0 0,-1 0 0 0 0,-3-3 896 0 0,6 4-1011 0 0,1-1 1 0 0,-1 1-1 0 0,0-1 0 0 0,0 1 0 0 0,0-1 0 0 0,0 1 0 0 0,0-1 0 0 0,0-2 0 0 0,1-1 84 0 0,1 1 388 0 0,1 1-120 0 0,0 0-357 0 0,-2 1-75 0 0,0 1 1 0 0,0-1-1 0 0,-1 1 0 0 0,1 0 1 0 0,0-1-1 0 0,0 1 0 0 0,0 0 1 0 0,3-1-1 0 0,17-7 456 0 0,-18 6-454 0 0,-3 3-45 0 0,0-1 0 0 0,0 0-1 0 0,0 0 1 0 0,0 1 0 0 0,0-1 0 0 0,1 1 0 0 0,-1-1 0 0 0,0 1-1 0 0,0 0 1 0 0,1-1 0 0 0,-1 1 0 0 0,0 0 0 0 0,3 0 0 0 0,21-3 324 0 0,2-1-90 0 0,-22 2-225 0 0,-4 2-21 0 0,1 0 0 0 0,-1-1 0 0 0,1 1-1 0 0,-1 0 1 0 0,1 0 0 0 0,-1 0 0 0 0,1 0-1 0 0,-1 0 1 0 0,1 0 0 0 0,0 0-1 0 0,-1 0 1 0 0,3 1 0 0 0,1 0 14 0 0,15 4 129 0 0,-14-3-146 0 0,13 4 29 0 0,-17-2-26 0 0,4 11-16 0 0,-4-12-39 0 0,-4 2-58 0 0,-4 15-87 0 0,1-11-112 0 0,1-4 168 0 0,-13 15-707 0 0,11-15 632 0 0,-15 18-976 0 0,-7 10-428 0 0,21-27 1335 0 0,-18 23-1079 0 0,-32 50-471 0 0,36-47 1417 0 0,-12 20 468 0 0,30-47 42 0 0,2-4-15 0 0,-1 1 1 0 0,1 0-1 0 0,0 0 1 0 0,0 0-1 0 0,0 0 0 0 0,0 0 1 0 0,0 0-1 0 0,0 5 1 0 0,-1-3 117 0 0,1-3-114 0 0,0 0-1 0 0,1 0 1 0 0,-1 1 0 0 0,1-1 0 0 0,-1 1-1 0 0,1-1 1 0 0,0 0 0 0 0,0 1 0 0 0,-1-1-1 0 0,1 1 1 0 0,0-1 0 0 0,0 3 0 0 0,0 17 1244 0 0,1-20-1269 0 0,-1-1-1 0 0,0 1 0 0 0,0 0 0 0 0,0 0 0 0 0,1 0 0 0 0,-1 0 0 0 0,0-1 0 0 0,1 1 0 0 0,-1 0 0 0 0,0 0 0 0 0,1-1 0 0 0,-1 1 0 0 0,2 1 0 0 0,-2-2-18 0 0,1 1-1 0 0,-1-1 1 0 0,1 1-1 0 0,-1-1 1 0 0,0 1-1 0 0,1 0 1 0 0,-1-1-1 0 0,0 1 1 0 0,0 0-1 0 0,1-1 1 0 0,-1 1 0 0 0,0 0-1 0 0,0-1 1 0 0,0 1-1 0 0,0 0 1 0 0,0 0-1 0 0,0 0 1 0 0,4 3 463 0 0,9 13-35 0 0,-10-13-36 0 0,2 0-43 0 0,0 1-279 0 0,16 14 346 0 0,1-2-164 0 0,1 0-182 0 0,-3-1-98 0 0,-13-10-28 0 0,-4-3-24 0 0,-1-1 0 0 0,1 0 0 0 0,0-1 0 0 0,0 1 0 0 0,5 2 0 0 0,17 8-952 0 0,-21-10 680 0 0,-2-1 28 0 0,0 0 1 0 0,0 0 0 0 0,0 0-1 0 0,0 0 1 0 0,0-1 0 0 0,0 1-1 0 0,4 0 1 0 0,-1 1-370 0 0,3 0-173 0 0,3-2-2785 0 0,4 0-53 0 0</inkml:trace>
</inkml:ink>
</file>

<file path=ppt/ink/ink1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7.26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27 65 8 0 0,'-7'-27'0'0'0,"1"2"3442"0"0,2 23-2435 0 0,-12-6-87 0 0,12 6-48 0 0,0 2-9 0 0,-11 2-8 0 0,12-2-15 0 0,-2 2-17 0 0,-13 4-25 0 0,14-4-30 0 0,-1 1-1 0 0,-13 8 3 0 0,13-8 16 0 0,1 1 18 0 0,-12 11 2 0 0,12-12-17 0 0,1 1-34 0 0,-6 11-55 0 0,6-11-45 0 0,1-1-47 0 0,-4 12-45 0 0,4-11-38 0 0,1 0-45 0 0,-3 23 310 0 0,3-22-688 0 0,0-3-55 0 0,1 0-1 0 0,0 0 1 0 0,-1 0-1 0 0,1 0 0 0 0,0 0 1 0 0,0 0-1 0 0,1 1 1 0 0,-1 1-1 0 0,0 2 12 0 0,0-3-34 0 0,0-1 1 0 0,0 1-1 0 0,0 0 0 0 0,0-1 0 0 0,1 1 0 0 0,-1-1 1 0 0,1 1-1 0 0,1 3 0 0 0,73 230 203 0 0,21 81-163 0 0,-22 82-275 0 0,-65-327-81 0 0,-3 1 1 0 0,-4 0-1 0 0,-10 112 0 0 0,5-158 195 0 0,-1-1 1 0 0,-1 0-1 0 0,-2 0 0 0 0,0 0 0 0 0,-2-1 1 0 0,0 0-1 0 0,-2 0 0 0 0,-15 23 0 0 0,4-13-351 0 0,-2-2 1 0 0,-2-1-1 0 0,-1-1 0 0 0,-1-1 0 0 0,-1-2 1 0 0,-2-1-1 0 0,-58 40 0 0 0,76-58 444 0 0,-1-1-1 0 0,1 0 0 0 0,-1-1 1 0 0,-1-1-1 0 0,1 0 1 0 0,-1-1-1 0 0,0-1 1 0 0,0 0-1 0 0,-1-1 1 0 0,1-1-1 0 0,-17 1 0 0 0,30-3 15 0 0,0 0-1 0 0,0 0 0 0 0,1 0 0 0 0,-1 0 1 0 0,0 0-1 0 0,0-1 0 0 0,0 1 0 0 0,0-1 1 0 0,0 1-1 0 0,-2-2 0 0 0,-1 0 9 0 0,0 1 36 0 0,1-3-15 0 0,-13-11-26 0 0,17 15-15 0 0,0 0 1 0 0,-1-1-1 0 0,1 1 1 0 0,-1 0-1 0 0,1-1 1 0 0,0 1-1 0 0,-1 0 1 0 0,1-1-1 0 0,0 1 1 0 0,0-1-1 0 0,-1 1 1 0 0,1-1-1 0 0,0 1 1 0 0,0-1-1 0 0,0 1 1 0 0,-1-1 0 0 0,-1-3-22 0 0,2 2 4 0 0,-1 1 1 0 0,0 0 0 0 0,1-1 0 0 0,-1 1 0 0 0,1-1 0 0 0,0 1 0 0 0,-1 0 0 0 0,1-1 0 0 0,0 1 0 0 0,0-1 0 0 0,0 1 0 0 0,0-4 0 0 0,-1 0-80 0 0,1 3-20 0 0,0-1-1 0 0,0 0 1 0 0,0 1 0 0 0,0-1-1 0 0,0 0 1 0 0,2-3-1 0 0,1-16-818 0 0,0 11-490 0 0,0 4 789 0 0,2-3-216 0 0,3-8-2723 0 0,3-6-116 0 0,-3 11 336 0 0,19-18 2637 0 0</inkml:trace>
</inkml:ink>
</file>

<file path=ppt/ink/ink1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7.73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3 35 8 0 0,'-26'30'0'0'0,"9"-6"81"0"0,13-19 439 0 0,1 0 549 0 0,-10 15 166 0 0,10-15 4 0 0,-1-1-50 0 0,-9 12-62 0 0,10-11-29 0 0,0-2 6 0 0,-14 16 3105 0 0,13-16-3256 0 0,-14 16 4478 0 0,19-24-5405 0 0,5-19-19 0 0,2 7-14 0 0,0 4-7 0 0,9-16-29 0 0,0 1-60 0 0,-12 23 82 0 0,-3 1 1 0 0,1 1-1 0 0,-1 0 1 0 0,0-1 0 0 0,3-6 0 0 0,3-6-22 0 0,-6 12 13 0 0,1-1 16 0 0,11-13-23 0 0,-11 14-86 0 0,-7 7-166 0 0,-11 8 290 0 0,9-4 15 0 0,3-3-6 0 0,-9 15 82 0 0,-3 11 106 0 0,-2-1 82 0 0,15-24-225 0 0,-10 16 235 0 0,-3 1 120 0 0,7-7-353 0 0,6-11-11 0 0,23-2-5458 0 0</inkml:trace>
</inkml:ink>
</file>

<file path=ppt/ink/ink1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49.43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14 1 8 0 0,'-23'9'35'0'0,"16"-6"25"0"0,4-2 30 0 0,0 1 0 0 0,0 0 0 0 0,0 0 0 0 0,0 0 0 0 0,0 0 0 0 0,-3 3 0 0 0,1 0 82 0 0,-17 12 723 0 0,-8 3 370 0 0,-2 2-68 0 0,26-17-1022 0 0,2-2-9 0 0,0 0 0 0 0,0 0 0 0 0,0-1 0 0 0,-6 3-1 0 0,-22 13 828 0 0,27-15-818 0 0,2 0-19 0 0,0-1-1 0 0,-1-1 1 0 0,1 1 0 0 0,0 0 0 0 0,-5 1-1 0 0,-22 9 1096 0 0,0-2 65 0 0,1 2 63 0 0,3-2-24 0 0,11-3-725 0 0,11-6-46 0 0,0 2-44 0 0,-16 11-32 0 0,15-11-44 0 0,1 0-49 0 0,-13 8-52 0 0,13-8-46 0 0,1 1-51 0 0,-1 1-191 0 0,1-3-22 0 0,1 1-1 0 0,0-1 1 0 0,0 1-1 0 0,0 0 1 0 0,-2 4-1 0 0,1-3-7 0 0,1-2-25 0 0,1 0 0 0 0,-1 0 0 0 0,1 1 0 0 0,0-1 0 0 0,0 0 1 0 0,0 0-1 0 0,-1 5 0 0 0,-1-1 1 0 0,-7 21 58 0 0,-17 90 31 0 0,21-86-42 0 0,2 0 0 0 0,2 1-1 0 0,0-1 1 0 0,4 37-1 0 0,0-55 3 0 0,-1-1-1 0 0,2 0 1 0 0,0 1-1 0 0,0-1 1 0 0,1 0-1 0 0,0-1 1 0 0,1 1-1 0 0,1-1 1 0 0,0 0-1 0 0,0 0 1 0 0,1 0-1 0 0,0-1 1 0 0,12 12-1 0 0,-7-10-12 0 0,0-1 0 0 0,1 0-1 0 0,0-1 1 0 0,0 0-1 0 0,1-1 1 0 0,1-1 0 0 0,20 9-1 0 0,-13-8 34 0 0,0-2-1 0 0,0 0 1 0 0,0-2 0 0 0,39 5 0 0 0,-21-6-416 0 0,77-4 0 0 0,36-16-2522 0 0,-114 9-2265 0 0,40-11-1 0 0,-44 9-926 0 0</inkml:trace>
</inkml:ink>
</file>

<file path=ppt/ink/ink1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1.0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2 121 8 0 0,'-2'-9'0'0'0,"-3"-7"1579"0"0,3 12-343 0 0,1-1-777 0 0,-1-3-4 0 0,-2-4 3535 0 0,-3-4-3319 0 0,5 12 968 0 0,0 0-1399 0 0,-10-11-20 0 0,9 11 488 0 0,-13 2-380 0 0,12 0-267 0 0,0 2 286 0 0,0 1-143 0 0,-1 1-130 0 0,-13 7 415 0 0,0 3-378 0 0,13-9-17 0 0,0 1-3 0 0,-14 12 4 0 0,17-15-80 0 0,0 1-1 0 0,1-1 1 0 0,-1 0 0 0 0,1 1-1 0 0,-1-1 1 0 0,1 1 0 0 0,-1-1 0 0 0,1 1-1 0 0,0 0 1 0 0,-1 1 0 0 0,-1 2 19 0 0,-11 15 162 0 0,11-14-155 0 0,-2 4 87 0 0,2-3-83 0 0,-6 22 182 0 0,0 10 84 0 0,5-13-30 0 0,1 1-1 0 0,2-1 1 0 0,3 52 0 0 0,1-54-77 0 0,1 0-1 0 0,1 0 1 0 0,9 27 0 0 0,-5-28-62 0 0,1 0 0 0 0,0-1 0 0 0,22 33 0 0 0,-24-43-77 0 0,1 0 1 0 0,0-1 0 0 0,1 0-1 0 0,0 0 1 0 0,1-1-1 0 0,0 0 1 0 0,16 10-1 0 0,-18-15-24 0 0,1 0-1 0 0,-1-1 1 0 0,0 0 0 0 0,1 0-1 0 0,0-1 1 0 0,0 0 0 0 0,0-1-1 0 0,1 0 1 0 0,-1-1 0 0 0,0 0 0 0 0,1 0-1 0 0,-1-1 1 0 0,15-2 0 0 0,-15 1 11 0 0,1-1 1 0 0,0 0-1 0 0,-1 0 1 0 0,1-1 0 0 0,-1-1-1 0 0,0 0 1 0 0,0 0 0 0 0,-1-1-1 0 0,1 0 1 0 0,-1-1-1 0 0,0 0 1 0 0,15-12 0 0 0,-14 6 10 0 0,1 1 0 0 0,-1-2 0 0 0,-1 1 0 0 0,0-1 0 0 0,-1 0 0 0 0,-1-1 0 0 0,9-21 0 0 0,0-7 38 0 0,13-56-1 0 0,-21 69-73 0 0,-2 0 1 0 0,-1-1-1 0 0,1-41 0 0 0,-6 58-38 0 0,0 0-1 0 0,-1 0 1 0 0,0 0-1 0 0,-1 0 1 0 0,0 1-1 0 0,-1-1 1 0 0,-1 1 0 0 0,0-1-1 0 0,-11-22 1 0 0,6 24-47 0 0,3 5 39 0 0,0 0-13 0 0,0 0-1 0 0,0 0 0 0 0,-1 0 1 0 0,0 1-1 0 0,-11-7 1 0 0,4 5-18 0 0,-1 1 1 0 0,0 0 0 0 0,0 0-1 0 0,0 2 1 0 0,-1 0-1 0 0,1 1 1 0 0,-1 1-1 0 0,0 0 1 0 0,0 1 0 0 0,0 0-1 0 0,-21 3 1 0 0,21 0 25 0 0,0 0 0 0 0,0 1 0 0 0,1 0 0 0 0,-1 1 0 0 0,1 1 0 0 0,0 1 0 0 0,0 0 0 0 0,0 1 0 0 0,1 0 0 0 0,-26 19 1 0 0,35-22-54 0 0,1-1 0 0 0,0 0 1 0 0,0 1-1 0 0,-5 7 1 0 0,2-4-16 0 0,7-6 61 0 0,-1 0 0 0 0,0-1 1 0 0,0 1-1 0 0,0 0 0 0 0,1 0 1 0 0,-1 0-1 0 0,0 0 0 0 0,1 0 1 0 0,-1 0-1 0 0,0 2 0 0 0,-11 24-437 0 0,9-15-207 0 0,-1 13-318 0 0,5-14-451 0 0,4 7-582 0 0,-5-18 1868 0 0,0 1-1 0 0,0-1 1 0 0,0 1 0 0 0,0-1 0 0 0,1 1 0 0 0,-1-1 0 0 0,0 1-1 0 0,0-1 1 0 0,0 0 0 0 0,1 1 0 0 0,-1-1 0 0 0,0 1-1 0 0,1-1 1 0 0,-1 0 0 0 0,0 1 0 0 0,1-1 0 0 0,0 1 0 0 0,15 14-3491 0 0,-5-9 73 0 0,20 6 1976 0 0</inkml:trace>
</inkml:ink>
</file>

<file path=ppt/ink/ink1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1.52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3 0 8 0 0,'-27'3'0'0'0,"-4"-1"368"0"0,17-2 764 0 0,10 0 171 0 0,0 0-30 0 0,-17 2 2194 0 0,17-1-2407 0 0,-2 0-649 0 0,-2 0-25 0 0,-5 3 3461 0 0,8-3-3600 0 0,-11 4 4355 0 0,17-2-4287 0 0,1 12-15 0 0,-2-11-27 0 0,4-3-21 0 0,1 0-171 0 0,-4 0-39 0 0,1-1 1 0 0,0 1-1 0 0,0-1 1 0 0,0 1-1 0 0,0-1 0 0 0,0 0 1 0 0,0 0-1 0 0,3 0 1 0 0,20 0 340 0 0,22 4-83 0 0,125 9 296 0 0,-107-11-501 0 0,125 8-46 0 0,-142-4-97 0 0,-19-4-12 0 0,-4-3-59 0 0,-9 0 36 0 0,-12 0-51 0 0</inkml:trace>
</inkml:ink>
</file>

<file path=ppt/ink/ink1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1.9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9 16 3033 0 0,'-4'-2'1739'0'0,"0"0"-1186"0"0,2 0-163 0 0,0 2 1 0 0,0-1 0 0 0,0 0 0 0 0,0 0 0 0 0,0 0 0 0 0,0 1-1 0 0,-4-1 1 0 0,1 0 7 0 0,-11-2 4825 0 0,14 7-5133 0 0,-4 14-4 0 0,4-9 17 0 0,2 17 101 0 0,1 7 9 0 0,4 121 482 0 0,-1-5-304 0 0,2 361 13 0 0,-7-320-258 0 0,1-170-58 0 0,1-1 1 0 0,6 38 0 0 0,-4-41-21 0 0,-2-11 132 0 0,3-3-138 0 0,13 10-14 0 0,-13-9-4 0 0,0-8-724 0 0,12-13-133 0 0,-10 10-471 0 0,-5 3 702 0 0,2-1-202 0 0,1-6-2519 0 0,-3 6 2176 0 0,2-4-346 0 0,3-4-3099 0 0,4-11 2106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3.01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6 1 8 0 0,'0'0'2100'0'0,"-3"2"-1177"0"0,-6 7-33 0 0,7-7-117 0 0,1 1-230 0 0,-7 26 20 0 0,-33 205-331 0 0,27-142 439 0 0,9-60 1025 0 0,-16 52 5447 0 0,20-86-6650 0 0,1-2-402 0 0,0 0 1 0 0,0 0-1 0 0,0 0 0 0 0,0 0 0 0 0,1 0 0 0 0,0 0 0 0 0,-1 0 0 0 0,4-7 0 0 0,15-35 172 0 0,-13 32-205 0 0,9-18-10 0 0,0 0 1 0 0,2 0 0 0 0,1 2 0 0 0,24-30 0 0 0,9 2 34 0 0,-45 52-80 0 0,0 1 0 0 0,0 0-1 0 0,1 0 1 0 0,-1 0 0 0 0,1 1 0 0 0,0 0-1 0 0,11-4 1 0 0,-16 7-2 0 0,0 0-1 0 0,0 1 0 0 0,0-1 1 0 0,0 1-1 0 0,0-1 1 0 0,1 1-1 0 0,-1 0 1 0 0,0 0-1 0 0,0 0 0 0 0,1 0 1 0 0,-1 0-1 0 0,0 0 1 0 0,0 1-1 0 0,1-1 1 0 0,-1 1-1 0 0,4 1 0 0 0,-4-1 1 0 0,1 1-1 0 0,-1-1 0 0 0,0 1 0 0 0,0-1 0 0 0,1 1 0 0 0,-1 0 0 0 0,-1 0 1 0 0,1 0-1 0 0,0 0 0 0 0,0 1 0 0 0,-1-1 0 0 0,2 3 0 0 0,1 4-15 0 0,0 0 0 0 0,-1 0 0 0 0,0 0-1 0 0,0 1 1 0 0,-1-1 0 0 0,1 17 0 0 0,1 34 2 0 0,-6 77 0 0 0,-1-37-431 0 0,4-81-277 0 0,-1-16-30 0 0</inkml:trace>
</inkml:ink>
</file>

<file path=ppt/ink/ink1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3.6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0 8 0 0,'0'0'8758'0'0,"1"5"-8474"0"0,1 21 149 0 0,-1-21-367 0 0,0-3-29 0 0,-1 0 1 0 0,1 0-1 0 0,-1 0 1 0 0,0 1-1 0 0,0-1 1 0 0,0 0-1 0 0,0 0 1 0 0,-1 2-1 0 0,0 3 28 0 0,0 19 254 0 0,1 12 108 0 0,20 271 1896 0 0,-6-202-2178 0 0,18 157-54 0 0,-27-215-116 0 0,11 118 329 0 0,-14 1 349 0 0,-3-136-555 0 0,0-6-46 0 0,1-24-45 0 0,0 0 1 0 0,0 1-1 0 0,-1-1 1 0 0,1 0-1 0 0,0 0 0 0 0,-1 0 1 0 0,1 0-1 0 0,-1 0 1 0 0,-1 3-1 0 0,0 0 4 0 0,-5 16-45 0 0,5-17 5 0 0,0 0-117 0 0,-19-26-7747 0 0,21 21 7715 0 0,-1 1 0 0 0,1 0 0 0 0,0-1 0 0 0,-1 1 0 0 0,1-1 0 0 0,-1 1-1 0 0,1-1 1 0 0,0 0 0 0 0,-1 1 0 0 0,1-1 0 0 0,0 1 0 0 0,0-1 0 0 0,-1 0 0 0 0,1 1 0 0 0,0-2-1 0 0,-2-3-717 0 0,1 1 485 0 0,0 1 0 0 0,0 0-1 0 0,0-1 1 0 0,1 1 0 0 0,-1-6 0 0 0,-3-26 311 0 0</inkml:trace>
</inkml:ink>
</file>

<file path=ppt/ink/ink1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3.97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7 264 0 0,'0'0'13562'0'0,"6"-2"-12748"0"0,15-4-111 0 0,-9 4-119 0 0,-5 1-418 0 0,24 0 506 0 0,59-2 22 0 0,56 1-153 0 0,95 6-733 0 0,-193-2-1664 0 0,-16-1-5558 0 0,-8 9-1116 0 0</inkml:trace>
</inkml:ink>
</file>

<file path=ppt/ink/ink1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4.3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6 20 8 0 0,'-22'-12'104'0'0,"21"11"-9"0"0,-1 0 0 0 0,1 1 0 0 0,0-1 0 0 0,0 0 0 0 0,-1 1 0 0 0,1-1 0 0 0,0 1 0 0 0,-1 0 0 0 0,1-1 1 0 0,0 1-1 0 0,-1 0 0 0 0,1 0 0 0 0,-3 0 0 0 0,0-1 249 0 0,0 1 770 0 0,0 0-120 0 0,-11 2-188 0 0,11-2-201 0 0,1 3-140 0 0,-12 9-88 0 0,11-10-38 0 0,1 3-17 0 0,0 0-216 0 0,1-3-46 0 0,1 0 1 0 0,-1 0-1 0 0,1 0 1 0 0,0 1-1 0 0,0-1 1 0 0,0 0-1 0 0,0 0 0 0 0,-1 5 1 0 0,-6 15 619 0 0,1-5-323 0 0,6-13 32 0 0,0 0 20 0 0,-3 19 2361 0 0,8-22-2389 0 0,12 4-73 0 0,-12-4-64 0 0,0-4-68 0 0,11-8-46 0 0,-11 8-57 0 0,-1-1-22 0 0,12-13-10 0 0,-11 13-25 0 0,0-1-1 0 0,0 0-10 0 0,-1 2 0 0 0,-1 0-1 0 0,1 0 1 0 0,-1 0-1 0 0,0 0 0 0 0,2-5 1 0 0,4-7 7 0 0,-6 12-16 0 0,0-1-9 0 0,7-11-27 0 0,-7 11-39 0 0,-21 23-2298 0 0,14-12 2041 0 0,-5 16-272 0 0,0 5-85 0 0,8-23 543 0 0,1-3 61 0 0,0 0-1 0 0,0-1 1 0 0,0 1 0 0 0,1 0 0 0 0,-1 0 0 0 0,1 0-1 0 0,-1 0 1 0 0,1 0 0 0 0,0 0 0 0 0,-1 3 0 0 0,-1 24-1954 0 0,2-11-1678 0 0,13 7 1231 0 0</inkml:trace>
</inkml:ink>
</file>

<file path=ppt/ink/ink1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4.69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80 0 8 0 0,'-23'4'108'0'0,"1"5"528"0"0,17-7 491 0 0,2 0 87 0 0,-12 6-38 0 0,11-6-108 0 0,0 1-141 0 0,-14 9-148 0 0,13-10-134 0 0,2 3-102 0 0,-10 13-65 0 0,9-13-33 0 0,0-1-4 0 0,-1 2-292 0 0,-13 17 595 0 0,14-18-600 0 0,-9 16 526 0 0,-5 9 1 0 0,-2 8-117 0 0,4 0-72 0 0,-12 43 0 0 0,19-46-28 0 0,1 0 1 0 0,-6 60-1 0 0,10-32 436 0 0,10 126 1 0 0,-1-144-670 0 0,3-1 1 0 0,1 1-1 0 0,24 66 1 0 0,1-33-217 0 0,-28-69 18 0 0,11 9 8 0 0,-9-12-6 0 0,-5-3-29 0 0,-2-2-6 0 0,0 0-1 0 0,0 0 0 0 0,1-1 1 0 0,-1 1-1 0 0,0 0 0 0 0,0-1 1 0 0,1 1-1 0 0,-1 0 0 0 0,0-1 1 0 0,1 0-1 0 0,-1 1 0 0 0,3-1 0 0 0,11 4-202 0 0,-8-4-107 0 0,10-4-117 0 0,-9 1-154 0 0,-2 0 337 0 0,-4 2 81 0 0,0 0-1 0 0,0 0 0 0 0,0 0 0 0 0,0 0 1 0 0,0-1-1 0 0,0 1 0 0 0,-1-1 0 0 0,1 1 0 0 0,3-4 1 0 0,0 0-329 0 0,-2 3 81 0 0,0 0-1 0 0,-1-1 1 0 0,0 1 0 0 0,1-1 0 0 0,-1 1 0 0 0,0-1-1 0 0,2-4 1 0 0,1 0-523 0 0,3-3-301 0 0,4-8-3135 0 0,11-12 919 0 0</inkml:trace>
</inkml:ink>
</file>

<file path=ppt/ink/ink1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55.59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 161 8 0 0,'-22'9'13444'0'0,"22"-13"-12738"0"0,2-12-81 0 0,-2 12 427 0 0,3-1-601 0 0,8-13-36 0 0,-8 14-38 0 0,0-1-33 0 0,9-13-30 0 0,-9 14-26 0 0,0-1-27 0 0,12-15-34 0 0,-11 15-31 0 0,1 1-37 0 0,0 0-112 0 0,-3 2-20 0 0,0 0-1 0 0,1 0 0 0 0,-1 0 1 0 0,0 0-1 0 0,1 1 1 0 0,0-1-1 0 0,3-1 0 0 0,19-9 130 0 0,-20 9-136 0 0,-3 1-14 0 0,0 1 1 0 0,0 0 0 0 0,0 0 0 0 0,0 0 0 0 0,0 0 0 0 0,0 0 0 0 0,4 0 0 0 0,10-4 4 0 0,13-2-39 0 0,-24 5 4 0 0,-1 3-7 0 0,10 3-2 0 0,-10-4-6 0 0,0 2-42 0 0,13 7 34 0 0,-13-7 0 0 0,-1 1-81 0 0,12 12 94 0 0,-11-11-4 0 0,-4 0-28 0 0,2 10 28 0 0,-2-10 5 0 0,-1 1 2 0 0,0 1 23 0 0,-6 17-25 0 0,-3 5-8 0 0,8-21 31 0 0,-9 19-54 0 0,-7 9-50 0 0,15-30 112 0 0,-15 27 0 0 0,-14 36-1 0 0,18-29-326 0 0,1 1 1 0 0,-8 50-1 0 0,16-64-282 0 0,2 1-1 0 0,1 0 0 0 0,1 0 0 0 0,3 37 0 0 0,-2-60 354 0 0,0 0 1 0 0,1 0-1 0 0,0 0 0 0 0,0-1 1 0 0,2 8-1 0 0,-1-4-82 0 0,-1-5 123 0 0,-1 1 0 0 0,1-1-1 0 0,0 1 1 0 0,-1-1-1 0 0,1 1 1 0 0,0-1-1 0 0,0 0 1 0 0,2 3 0 0 0,0 0-217 0 0,-1 0-1047 0 0,2-2-312 0 0,13 10-386 0 0,9-10-2431 0 0</inkml:trace>
</inkml:ink>
</file>

<file path=ppt/ink/ink1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7:00.9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87 250 8 0 0,'-1'-11'4372'0'0,"0"0"-1"0"0,0-14 1 0 0,1 22-4120 0 0,-3 6 27 0 0,-18 15 932 0 0,-37 41 1 0 0,-12 20-97 0 0,-128 132 1460 0 0,170-187-2150 0 0,26-22 11 0 0,3-5-362 0 0,10-15-61 0 0,0-1 0 0 0,2 2 1 0 0,0 0-1 0 0,15-16 0 0 0,-1 1-66 0 0,46-58-184 0 0,91-107-83 0 0,-7 30 406 0 0,-154 164-99 0 0,-5 8-266 0 0,-35 48-105 0 0,-46 52-1 0 0,60-78 341 0 0,-194 247 611 0 0,139-180 99 0 0,-17 24 549 0 0,82-100-957 0 0,11-14-98 0 0,5-5-130 0 0,3-2-19 0 0,0 0 0 0 0,0-1 0 0 0,0 0 0 0 0,7-5 0 0 0,132-138-56 0 0,-74 72-25 0 0,-4 4 77 0 0,75-72-219 0 0,-116 122-60 0 0,-24 20 105 0 0,0-1-7 0 0,4-1-170 0 0,-8 6 154 0 0,-16 14 79 0 0,-2 3 18 0 0,-73 85-198 0 0,-23 25 113 0 0,18-25 962 0 0,-85 122 0 0 0,175-215-537 0 0,-9 20-1 0 0,17-32-245 0 0,0 0-1 0 0,0 0 0 0 0,0 0 1 0 0,0 0-1 0 0,0 0 0 0 0,0 0 1 0 0,0 0-1 0 0,0 0 0 0 0,0 0 0 0 0,0 0 1 0 0,1 0-1 0 0,-1 0 0 0 0,0 0 1 0 0,0 0-1 0 0,0 0 0 0 0,0 0 1 0 0,0 0-1 0 0,0 0 0 0 0,0 0 1 0 0,0 0-1 0 0,0 0 0 0 0,0 0 1 0 0,0 0-1 0 0,0 0 0 0 0,0 0 0 0 0,0 0 1 0 0,0 0-1 0 0,0 0 0 0 0,0 0 1 0 0,0 0-1 0 0,1 0 0 0 0,-1 0 1 0 0,0 0-1 0 0,0 1 0 0 0,0-1 1 0 0,0 0-1 0 0,0 0 0 0 0,0 0 1 0 0,0 0-1 0 0,0 0 0 0 0,0 0 0 0 0,0 0 1 0 0,0 0-1 0 0,0 0 0 0 0,0 0 1 0 0,0 0-1 0 0,0 0 0 0 0,0 0 1 0 0,0 0-1 0 0,0 1 0 0 0,0-1 1 0 0,0 0-1 0 0,0 0 0 0 0,0 0 1 0 0,0 0-1 0 0,-1 0 0 0 0,1 0 0 0 0,0 0 1 0 0,0 0-1 0 0,0 0 0 0 0,0 0 1 0 0,0 0-1 0 0,0 0 0 0 0,15-2-5 0 0,-8-2-24 0 0,1 1-1 0 0,-1-1 0 0 0,0 0 1 0 0,11-10-1 0 0,29-26-251 0 0,-34 29 218 0 0,58-54-142 0 0,63-52 98 0 0,8 11 76 0 0,-115 91-75 0 0,-24 13 60 0 0,0 1 0 0 0,-1 0 1 0 0,1 0-1 0 0,0 0 0 0 0,0 0 1 0 0,0 0-1 0 0,5 0 0 0 0,-7 3-46 0 0,5 9 35 0 0,-6-11 56 0 0,0 0-1 0 0,0 0 1 0 0,1 1 0 0 0,-1-1 0 0 0,0 0 0 0 0,0 0 0 0 0,0 1-1 0 0,0-1 1 0 0,0 0 0 0 0,0 0 0 0 0,0 1 0 0 0,0-1 0 0 0,0 0-1 0 0,0 1 1 0 0,0-1 0 0 0,0 0 0 0 0,0 0 0 0 0,0 1 0 0 0,0-1 0 0 0,0 0-1 0 0,0 1 1 0 0,-1-1 0 0 0,-5 24-4 0 0,-1-1 0 0 0,-13 28 0 0 0,-27 48 148 0 0,8-17 4 0 0,-26 83 382 0 0,63-155-514 0 0,2-4-131 0 0,10-11-342 0 0,-5 1-76 0 0,0-4-329 0 0,-1 0 1 0 0,0-1 0 0 0,4-9-1 0 0,-3 3-2638 0 0,0 1-1 0 0,-2-1 0 0 0,3-18 1 0 0,-3 5 711 0 0</inkml:trace>
</inkml:ink>
</file>

<file path=ppt/ink/ink1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7:01.47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61 77 8 0 0,'1'-9'2453'0'0,"-1"0"-1"0"0,3-13 1 0 0,0 0 2466 0 0,-5 8-2601 0 0,-11 15-1855 0 0,10-1-260 0 0,1 1 3 0 0,-7 5 1 0 0,6-5-11 0 0,0 2-23 0 0,-11 11 178 0 0,1 1-1 0 0,0 0 1 0 0,-11 18-1 0 0,-31 57 810 0 0,33-44-251 0 0,-19 53 0 0 0,21-50-356 0 0,13-32-296 0 0,1 0 0 0 0,1 0 0 0 0,-5 31 0 0 0,9-41-203 0 0,0 0 0 0 0,0 0 0 0 0,1 0 1 0 0,0 0-1 0 0,1 0 0 0 0,0 0 0 0 0,0 0 1 0 0,0 0-1 0 0,1-1 0 0 0,0 1 0 0 0,0 0 1 0 0,5 10-1 0 0,-3-11-24 0 0,0 0 0 0 0,1-1-1 0 0,-1 1 1 0 0,8 5 0 0 0,-5-5-20 0 0,0-1-1 0 0,0 0 1 0 0,1 0-1 0 0,0-1 1 0 0,0 0-1 0 0,0 0 1 0 0,0-1-1 0 0,0 0 1 0 0,1 0-1 0 0,-1-1 1 0 0,15 2-1 0 0,4-1-1244 0 0,0-2 0 0 0,38-1 0 0 0,-25-4-4372 0 0,0-4-5574 0 0,-24 3 8702 0 0</inkml:trace>
</inkml:ink>
</file>

<file path=ppt/ink/ink1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7:01.80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6 263 688 0 0,'-25'8'14217'0'0,"25"-10"-13521"0"0,1-4-341 0 0,-1 1 0 0 0,1 0 0 0 0,3-8 0 0 0,-3 9-258 0 0,1-1 0 0 0,0 1-1 0 0,1 1 1 0 0,-1-1 0 0 0,5-6 0 0 0,2-2 70 0 0,80-102 622 0 0,-47 63-623 0 0,-28 37-120 0 0,-3 5-28 0 0,-2 1-10 0 0,-7 7 107 0 0,-1 4-59 0 0,7 9 16 0 0,-8-12-69 0 0,0 0 1 0 0,0 0-1 0 0,1 1 0 0 0,-1-1 1 0 0,0 0-1 0 0,0 0 1 0 0,0 0-1 0 0,0 1 1 0 0,0-1-1 0 0,0 0 1 0 0,0 1-1 0 0,0-1 0 0 0,0 0 1 0 0,0 0-1 0 0,0 1 1 0 0,0-1-1 0 0,0 0 1 0 0,0 0-1 0 0,0 1 0 0 0,0-1 1 0 0,0 0-1 0 0,0 0 1 0 0,0 1-1 0 0,0-1 1 0 0,0 1-1 0 0,-24 93 757 0 0,2-7 32 0 0,-12 95-1 0 0,32-159-785 0 0,-9 90 50 0 0,9-87-160 0 0,2 0 1 0 0,4 34-1 0 0,-3-55-275 0 0,0 0 0 0 0,0-1 0 0 0,0 1 0 0 0,1 0 1 0 0,0 0-1 0 0,0-1 0 0 0,0 1 0 0 0,4 4 0 0 0,4 4-4425 0 0</inkml:trace>
</inkml:ink>
</file>

<file path=ppt/ink/ink1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7:03.91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8 15 8 0 0,'-13'-9'0'0'0,"1"4"7"0"0,12 5-2 0 0,0 0 1 0 0,0 0-1 0 0,-1 0 1 0 0,1 0-1 0 0,0 0 1 0 0,0-1-1 0 0,0 1 0 0 0,0 0 1 0 0,-1 0-1 0 0,1 0 1 0 0,0 0-1 0 0,0 0 1 0 0,0 0-1 0 0,-1 0 1 0 0,1 0-1 0 0,0 0 1 0 0,0 0-1 0 0,0 0 1 0 0,0 1-1 0 0,-1-1 1 0 0,1 0-1 0 0,0 0 1 0 0,0 0-1 0 0,0 0 1 0 0,0 0-1 0 0,-1 0 1 0 0,1 0-1 0 0,-24 19 3421 0 0,15-8-2824 0 0,0 0 1 0 0,1 1-1 0 0,1 0 1 0 0,0 0-1 0 0,1 1 0 0 0,0 0 1 0 0,1 0-1 0 0,-5 16 0 0 0,7-15-154 0 0,-9 48 990 0 0,12-60-1334 0 0,1 0-28 0 0,8 20 245 0 0,-8-20-299 0 0,0-2-23 0 0,-1 0 1 0 0,0 0-1 0 0,1 0 1 0 0,-1 0-1 0 0,0 0 1 0 0,1 0-1 0 0,-1 0 1 0 0,0 0-1 0 0,1-1 1 0 0,-1 1-1 0 0,0 0 1 0 0,0 0-1 0 0,1 0 1 0 0,-1 0-1 0 0,0-1 1 0 0,0 1-1 0 0,1 0 1 0 0,-1 0-1 0 0,0-1 1 0 0,0 1-1 0 0,1 0 0 0 0,-1 0 1 0 0,0-1-1 0 0,0 1 0 0 0,1-1 0 0 0,-1 1 0 0 0,0 0 0 0 0,0 0-1 0 0,0-1 1 0 0,1 1 0 0 0,-1 0 0 0 0,0 0 0 0 0,0-1-1 0 0,1 1 1 0 0,-1 0 0 0 0,0 0 0 0 0,0 0 0 0 0,1-1-1 0 0,-1 1 1 0 0,0 0 0 0 0,1 0 0 0 0,-1 0-1 0 0,0 0 1 0 0,1 0 0 0 0,-1 0 0 0 0,0 0 0 0 0,1 0-1 0 0,2-3-32 0 0,67-76-376 0 0,-66 75 397 0 0,1-1-4 0 0,5-5 7 0 0,-7 8 54 0 0,-3 3-37 0 0,0 0-1 0 0,0-1 0 0 0,0 1 0 0 0,0 0 0 0 0,0 0 0 0 0,0 0 0 0 0,1-1 1 0 0,-1 1-1 0 0,0 0 0 0 0,1 0 0 0 0,-1-1 0 0 0,1 2 0 0 0,0 0 8 0 0,-1-2-12 0 0,0 0-1 0 0,1 0 1 0 0,-1 1 0 0 0,0-1 0 0 0,0 0 0 0 0,0 0 0 0 0,0 1 0 0 0,0-1 0 0 0,0 0-1 0 0,0 0 1 0 0,0 0 0 0 0,0 1 0 0 0,0-1 0 0 0,0 0 0 0 0,0 0 0 0 0,0 1 0 0 0,0-1-1 0 0,-1 0 1 0 0,1 0 0 0 0,0 1 0 0 0,0-1 0 0 0,0 0 0 0 0,0 0 0 0 0,0 0 0 0 0,0 1-1 0 0,-1-1 1 0 0,-14 31 61 0 0,-60 125 2441 0 0,61-121-1220 0 0,1 0 1 0 0,-13 60-1 0 0,25-94-1254 0 0,1 0 0 0 0,0 0 0 0 0,0 0 0 0 0,0 0 0 0 0,0 0 0 0 0,0 0 0 0 0,0 0 0 0 0,0 1 0 0 0,0-1 0 0 0,0 0 0 0 0,0 1-1 0 0,2 7 254 0 0,0-6-96 0 0,7 5-27 0 0,-9-8-157 0 0,1 0 1 0 0,-1 0 0 0 0,0 0 0 0 0,0 1-1 0 0,0-1 1 0 0,0 0 0 0 0,0 0-1 0 0,0 0 1 0 0,1 0 0 0 0,-1 0 0 0 0,0 0-1 0 0,0 0 1 0 0,0 0 0 0 0,0 0 0 0 0,1 1-1 0 0,-1-1 1 0 0,0 0 0 0 0,0 0-1 0 0,0 0 1 0 0,1 0 0 0 0,-1 0 0 0 0,0 0-1 0 0,0 0 1 0 0,0 0 0 0 0,0 0 0 0 0,1 0-1 0 0,-1 0 1 0 0,0-1 0 0 0,0 1-1 0 0,0 0 1 0 0,1 0 0 0 0,-1 0 0 0 0,0 0-1 0 0,13-4 38 0 0,0-1-1 0 0,-1 0 0 0 0,19-10 1 0 0,37-27-252 0 0,7-4-443 0 0,-66 42 545 0 0,58-29-520 0 0,-57 28 508 0 0,0 2 1 0 0,0-1 0 0 0,0 2-1 0 0,19-4 1 0 0,-28 6 107 0 0,0 0-1 0 0,0 0 1 0 0,0 0-1 0 0,1 0 1 0 0,-1 0-1 0 0,0 0 1 0 0,0 0-1 0 0,0 0 1 0 0,0 1-1 0 0,1-1 1 0 0,-1 0 0 0 0,1 1-1 0 0,1 0-12 0 0,3 2-30 0 0,2 7 34 0 0,-5-4 44 0 0,-1 3 61 0 0,-1 0 1 0 0,0 0-1 0 0,0 0 1 0 0,-2 14-1 0 0,-6 42 689 0 0,5-56-665 0 0,1 1-1 0 0,1 0 0 0 0,0 0 1 0 0,0 0-1 0 0,1 0 0 0 0,0-1 1 0 0,0 1-1 0 0,5 14 0 0 0,-4-19-108 0 0,-1 0-1 0 0,2-1 0 0 0,-1 1 1 0 0,0 0-1 0 0,1-1 1 0 0,0 0-1 0 0,0 1 0 0 0,0-1 1 0 0,1 0-1 0 0,-1-1 0 0 0,1 1 1 0 0,0-1-1 0 0,0 1 0 0 0,0-1 1 0 0,0 0-1 0 0,1-1 1 0 0,7 5-1 0 0,-1-3-470 0 0,1 0-1 0 0,0 0 1 0 0,15 2 0 0 0,38 3-7131 0 0,-32-5 760 0 0,-7 0 4773 0 0</inkml:trace>
</inkml:ink>
</file>

<file path=ppt/ink/ink1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7:08.52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6 110 8 0 0,'-1'-17'0'0'0,"1"1"0"0"0,1 2 0 0 0,-4 1 0 0 0,-2-13 10637 0 0,3 25-10066 0 0,-9-2 2297 0 0,11 4-2827 0 0,0 0-1 0 0,-1 0 1 0 0,1-1-1 0 0,0 1 1 0 0,-1 0-1 0 0,1 0 1 0 0,-1 0-1 0 0,1-1 1 0 0,-1 1-1 0 0,0 0 1 0 0,1-1-1 0 0,-2 2 0 0 0,1-2 24 0 0,0 3 244 0 0,-1-1-227 0 0,-6 9-22 0 0,7-9-11 0 0,-1 0-8 0 0,-6 8-8 0 0,6-8-8 0 0,0 0-5 0 0,-6 6 2 0 0,6-6-4 0 0,0 1-1 0 0,-8 5-1 0 0,8-6-4 0 0,0 0 2 0 0,-4 2 7 0 0,1-1-1 0 0,-1 1 1 0 0,0-1 0 0 0,-6 3 0 0 0,10-6 258 0 0,2-2-259 0 0,1-20 908 0 0,0 20-564 0 0,1 0-158 0 0,18-13 434 0 0,-17 14-506 0 0,0-1-11 0 0,12-8 77 0 0,1 1 1 0 0,0 0 0 0 0,24-7-1 0 0,-3 1-117 0 0,-35 14-76 0 0,1 0 0 0 0,0 0 0 0 0,0 0 1 0 0,0 1-1 0 0,-1-1 0 0 0,1 1 0 0 0,0 0 1 0 0,5 0-1 0 0,0 0 12 0 0,-6 2-3 0 0,9 3 0 0 0,-9-3-3 0 0,0 0 16 0 0,1 3 14 0 0,0 1 1 0 0,-1-1 0 0 0,1 1-1 0 0,-1-1 1 0 0,0 1 0 0 0,1 8-1 0 0,0 17-16 0 0,-1-5 19 0 0,-3 6-11 0 0,1-30-36 0 0,0-1 1 0 0,0 1 0 0 0,0-1-1 0 0,-1 1 1 0 0,1-1 0 0 0,0 1 0 0 0,-1-1-1 0 0,1 1 1 0 0,-1-1 0 0 0,0 2-1 0 0,-1 1-9 0 0,2-2 5 0 0,-1-1 0 0 0,0 1 0 0 0,1 0 0 0 0,-1 0 0 0 0,0-1 0 0 0,0 1 0 0 0,0-1 0 0 0,1 1 0 0 0,-2-1 0 0 0,0 2 0 0 0,-2 3-8 0 0,-6 8 7 0 0,0 0 0 0 0,-1-1 0 0 0,0 0 0 0 0,-16 14 0 0 0,-55 40 1 0 0,80-65 6 0 0,-27 20 48 0 0,-1-1-1 0 0,-2-2 1 0 0,-52 25 0 0 0,6-12 634 0 0,76-32-507 0 0,4-2-180 0 0,-1 0-20 0 0,1 1 0 0 0,-1-1 0 0 0,1 0 0 0 0,0 1 0 0 0,-1-1 0 0 0,1 1 0 0 0,0-1 0 0 0,0 1 0 0 0,0 0 0 0 0,1 0 0 0 0,-1 0 1 0 0,4-2-1 0 0,11-3 9 0 0,0 1 0 0 0,0 1 0 0 0,0 0 0 0 0,1 1 1 0 0,-1 1-1 0 0,30 0 0 0 0,-45 2 10 0 0,1 0 0 0 0,-1 1 0 0 0,1-1 0 0 0,-1 1 0 0 0,1 0-1 0 0,-1 0 1 0 0,1 0 0 0 0,-1 0 0 0 0,0 0 0 0 0,0 1 0 0 0,3 1 0 0 0,-3-2 2 0 0,-1 1 14 0 0,0-1 1 0 0,1 0-1 0 0,-1 1 0 0 0,0-1 1 0 0,0 0-1 0 0,0 1 1 0 0,0-1-1 0 0,0 1 1 0 0,-1 0-1 0 0,1-1 1 0 0,0 1-1 0 0,-1 0 1 0 0,1-1-1 0 0,-1 1 1 0 0,0 0-1 0 0,1 2 1 0 0,-1-2-11 0 0,0 6 12 0 0,1-1-1 0 0,-2 1 0 0 0,1 0 0 0 0,-1 0 1 0 0,0-1-1 0 0,-1 1 0 0 0,-3 10 0 0 0,3-11 1 0 0,2-6-9 0 0,0 1 0 0 0,-1 0 0 0 0,1-1 0 0 0,-1 1 1 0 0,1 0-1 0 0,-1-1 0 0 0,0 1 0 0 0,-1 1 1 0 0,-4 8 21 0 0,-4 8 136 0 0,-14 18 0 0 0,22-35-92 0 0,2-1-61 0 0,-1 0 0 0 0,1 0 0 0 0,-1 0 0 0 0,1 0 0 0 0,-1-1 0 0 0,1 1 0 0 0,-1 0 0 0 0,0 0 0 0 0,1-1 0 0 0,-1 1-1 0 0,0 0 1 0 0,-1 0 0 0 0,1 1 9 0 0,-2 0 30 0 0,1 1-14 0 0,-7 5-8 0 0,7-6-2 0 0,0 0-6 0 0,-7 5-1 0 0,7-5-1 0 0,0 0-7 0 0,-9 5-4 0 0,9-5 5 0 0,1-2-9 0 0,0 1-1 0 0,1-1 0 0 0,-1 0 0 0 0,0 1 1 0 0,0-1-1 0 0,1 0 0 0 0,-1 1 0 0 0,0-1 0 0 0,1 1 1 0 0,-1-1-1 0 0,1 1 0 0 0,-2 0 0 0 0,1 0 0 0 0,-1 1-13 0 0,0-1-22 0 0,-7 4-12 0 0,6-3-11 0 0,1-1-19 0 0,-6 4-20 0 0,6-4-20 0 0,0 0-393 0 0,-3 2-1122 0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3.48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4 49 8 0 0,'-15'13'115'0'0,"9"-4"539"0"0,0-1 0 0 0,0 1 0 0 0,1 0 0 0 0,0 0 0 0 0,0 1 0 0 0,1 0 0 0 0,0 0 0 0 0,-2 11 0 0 0,2-5 806 0 0,1 0 0 0 0,0 1 0 0 0,1-1 0 0 0,0 28 1 0 0,3-18-583 0 0,2 0 0 0 0,5 29 1 0 0,-4-39-572 0 0,0 1-1 0 0,1-1 1 0 0,1 0 0 0 0,10 20-1 0 0,-13-31-197 0 0,0 0-1 0 0,0 0 0 0 0,1 0 0 0 0,-1 0 0 0 0,1-1 1 0 0,0 0-1 0 0,0 1 0 0 0,1-2 0 0 0,-1 1 0 0 0,1 0 1 0 0,0-1-1 0 0,0 0 0 0 0,0 0 0 0 0,9 4 0 0 0,-10-6-70 0 0,1 1 1 0 0,-1-1-1 0 0,1 0 0 0 0,0-1 0 0 0,0 1 0 0 0,-1-1 0 0 0,1 0 0 0 0,0 0 0 0 0,0 0 1 0 0,-1-1-1 0 0,1 1 0 0 0,0-1 0 0 0,-1 0 0 0 0,1-1 0 0 0,-1 1 0 0 0,1-1 0 0 0,-1 0 0 0 0,6-3 1 0 0,-1 0-53 0 0,-1-1 1 0 0,1-1-1 0 0,-1 0 0 0 0,0 0 1 0 0,-1 0-1 0 0,0-1 1 0 0,8-9-1 0 0,39-66-966 0 0,-37 55 507 0 0,43-71-1036 0 0,32-50 568 0 0,-76 123 1016 0 0,19-40-1 0 0,-34 64 48 0 0,-1-1 51 0 0,1-5 39 0 0,-1 6 11 0 0,-3 5-30 0 0,-21 30-4 0 0,2 0-1 0 0,-28 52 1 0 0,28-45-147 0 0,-35 65 418 0 0,4 3-1 0 0,5 2 0 0 0,-42 149 0 0 0,57-144-107 0 0,-26 82-6 0 0,-14-5-117 0 0,50-142-191 0 0,22-48-116 0 0,-1 0-118 0 0,-5 6-190 0 0,5-5-285 0 0,-1-11-2097 0 0,2 2 1066 0 0,0 1-1 0 0,0-1 0 0 0,0 0 1 0 0,1 1-1 0 0,0-11 0 0 0,3-1-4270 0 0</inkml:trace>
</inkml:ink>
</file>

<file path=ppt/ink/ink1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0.15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23 1 8 0 0,'-9'10'7'0'0,"-2"5"2257"0"0,0-12-1337 0 0,8-2-16 0 0,1-1-412 0 0,-21 6 1892 0 0,20-5-1544 0 0,1-1-446 0 0,-8 1-22 0 0,7-1 237 0 0,1 0-385 0 0,-2 1-144 0 0,1 0 1 0 0,-1 0-1 0 0,1 0 1 0 0,-5 2-1 0 0,6-2-91 0 0,-1 2-5 0 0,2-1 7 0 0,-2 0-4 0 0,1 1 0 0 0,0 0 0 0 0,0 0 0 0 0,0 0 1 0 0,0 0-1 0 0,0 0 0 0 0,1 0 0 0 0,-3 5 0 0 0,-60 203 83 0 0,54-165 585 0 0,2 0-1 0 0,1 0 1 0 0,3 1-1 0 0,2 53 1 0 0,3-75-205 0 0,1 0 0 0 0,2 0 1 0 0,0 0-1 0 0,16 47 1 0 0,-13-53-382 0 0,0 0 0 0 0,2-1 0 0 0,0 0 0 0 0,1 0 0 0 0,1-1 0 0 0,21 26 0 0 0,-31-43-77 0 0,2 5-18 0 0,1-1 0 0 0,1 1 0 0 0,-1-1 0 0 0,1 0 0 0 0,-1 0 0 0 0,1 0 0 0 0,0-1 0 0 0,0 1 0 0 0,11 4 0 0 0,-12-6-70 0 0,-2-1 8 0 0,0 0-1 0 0,0 0 1 0 0,0 0 0 0 0,0-1-1 0 0,0 1 1 0 0,0-1 0 0 0,0 1-1 0 0,3 0 1 0 0,-1 0-152 0 0,-3-1 106 0 0,0 1-1 0 0,0-1 1 0 0,1 1 0 0 0,-1-1 0 0 0,0 0 0 0 0,1 0 0 0 0,-1 0 0 0 0,0 0 0 0 0,1 0 0 0 0,-1 0-1 0 0,0 0 1 0 0,3 0 0 0 0,0 0-366 0 0,-3 0 271 0 0,0 0 0 0 0,0 0 0 0 0,0 0 1 0 0,0 0-1 0 0,0 0 0 0 0,0 0 0 0 0,0 0 0 0 0,0-1 1 0 0,1 1-1 0 0,-1 0 0 0 0,0-1 0 0 0,0 1 0 0 0,0-1 1 0 0,0 1-1 0 0,1-2 0 0 0,2 1-777 0 0,4-2-294 0 0,20-23-5521 0 0</inkml:trace>
</inkml:ink>
</file>

<file path=ppt/ink/ink1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0.68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436 8 0 0,'3'15'6909'0'0,"7"-15"-5811"0"0,-8 1-147 0 0,1-3-126 0 0,19-17 437 0 0,0-1-1 0 0,28-34 0 0 0,-20 19-1119 0 0,-3-1-1 0 0,-1-1 1 0 0,23-45 0 0 0,-33 52-143 0 0,-2-1 0 0 0,18-56 0 0 0,-31 75 21 0 0,-1 10-15 0 0,0 0 110 0 0,-2 2-130 0 0,-6-2-14 0 0,5 1-4 0 0,2 5-5 0 0,-2 0 27 0 0,-5 13-42 0 0,-9 30 45 0 0,3 1 0 0 0,-11 61 0 0 0,-6 107 850 0 0,19-129-91 0 0,11-78-601 0 0,-1 0 1 0 0,2 1 0 0 0,-1 0-1 0 0,1-1 1 0 0,0 1 0 0 0,2 9 0 0 0,-1-17-57 0 0,1 0-59 0 0,8 6 21 0 0,-7-9-87 0 0,6-3-74 0 0,-7 3-106 0 0,0-2-189 0 0,7-20-1848 0 0,1-8-6948 0 0,-6 15 4486 0 0</inkml:trace>
</inkml:ink>
</file>

<file path=ppt/ink/ink1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1.1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4 1 8 0 0,'-29'11'9186'0'0,"25"1"-6904"0"0,6-11-1831 0 0,2 1-193 0 0,0-1 0 0 0,0 0 1 0 0,1 1-1 0 0,-1-2 0 0 0,0 1 0 0 0,1-1 1 0 0,-1 1-1 0 0,0-1 0 0 0,6-1 1 0 0,20-2 534 0 0,6-2-92 0 0,43 1 0 0 0,-76 4-677 0 0,0 0-1 0 0,0 0 1 0 0,0 1-1 0 0,0-1 1 0 0,0 1 0 0 0,0 0-1 0 0,0 0 1 0 0,0 0 0 0 0,0 0-1 0 0,-1 0 1 0 0,1 1-1 0 0,0-1 1 0 0,3 4 0 0 0,-4-3 54 0 0,-2-2-75 0 0,0 0 0 0 0,0 1-1 0 0,0-1 1 0 0,0 0-1 0 0,0 0 1 0 0,1 1 0 0 0,-1-1-1 0 0,0 0 1 0 0,0 0-1 0 0,0 1 1 0 0,0-1 0 0 0,0 0-1 0 0,0 0 1 0 0,0 1-1 0 0,1-1 1 0 0,-1 0 0 0 0,0 0-1 0 0,0 1 1 0 0,0-1-1 0 0,1 0 1 0 0,-1 0 0 0 0,0 0-1 0 0,0 0 1 0 0,0 1-1 0 0,1-1 1 0 0,-1 0 0 0 0,1 0-1 0 0,-1 0-37 0 0,0 0 0 0 0,1 1-1 0 0,-1-1 1 0 0,0 0 0 0 0,1 0 0 0 0,-1 1-1 0 0,0-1 1 0 0,1 0 0 0 0,-1 0 0 0 0,0 1-1 0 0,0-1 1 0 0,1 0 0 0 0,-1 1 0 0 0,0-1-1 0 0,0 0 1 0 0,0 1 0 0 0,0-1 0 0 0,1 0-1 0 0,-1 1 1 0 0,0-1 0 0 0,0 0 0 0 0,0 1-1 0 0,0-1 1 0 0,0 1 0 0 0,0-1 0 0 0,0 0-1 0 0,0 1 1 0 0,0 0 0 0 0,0 7-417 0 0,0-6-107 0 0</inkml:trace>
</inkml:ink>
</file>

<file path=ppt/ink/ink1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1.47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9 18 8 0 0,'-4'-15'3727'0'0,"3"15"-3555"0"0,0 0-1 0 0,0 0 0 0 0,0 0 0 0 0,0 0 0 0 0,0 0 0 0 0,0 0 0 0 0,0-1 0 0 0,0 1 0 0 0,0 0 0 0 0,0-1 0 0 0,-1 0 505 0 0,0 3-200 0 0,-4 4-127 0 0,1 0-1 0 0,0 0 0 0 0,1 1 0 0 0,-1 0 0 0 0,1 0 0 0 0,0 0 0 0 0,1 0 0 0 0,0 0 0 0 0,0 1 0 0 0,-3 13 0 0 0,-6 23 911 0 0,-9 69 0 0 0,4 46-293 0 0,-5 38 342 0 0,0-71 1034 0 0,22-124-2134 0 0,-4 7-54 0 0,3-7-129 0 0,0 0 21 0 0,0-5-635 0 0,-1-3-398 0 0,0 0 1 0 0,0 0 0 0 0,1-1-1 0 0,-1 1 1 0 0,1-12-1 0 0,1-39-8594 0 0,0 41 7513 0 0</inkml:trace>
</inkml:ink>
</file>

<file path=ppt/ink/ink1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1.80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62 8 0 0,'1'-2'5009'0'0,"6"-10"-2258"0"0,-4 10-1690 0 0,51-34 2378 0 0,-8 7-2261 0 0,88-37 0 0 0,-126 63-1278 0 0,0 0-1 0 0,0 1 0 0 0,1 0 0 0 0,-1 0 1 0 0,1 1-1 0 0,-1 0 0 0 0,1 1 0 0 0,10 0 1 0 0,-17 0-245 0 0,1 1 0 0 0,-1-1 0 0 0,1 1 0 0 0,-1 0 0 0 0,1-1 0 0 0,-1 1 0 0 0,1 1 0 0 0,1 0 0 0 0,1 0-595 0 0,23 12-8725 0 0</inkml:trace>
</inkml:ink>
</file>

<file path=ppt/ink/ink1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2.18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8 90 8 0 0,'1'-3'1388'0'0,"3"-8"2481"0"0,-2 7-3058 0 0,0 1-1 0 0,0-1 1 0 0,0 1-1 0 0,0 0 1 0 0,4-5-1 0 0,-4 6-340 0 0,1-2-31 0 0,0 1 0 0 0,0 0 0 0 0,0 1 1 0 0,0-1-1 0 0,7-4 0 0 0,-7 5-333 0 0,2-1 102 0 0,0 0 1 0 0,0 0-1 0 0,1 0 1 0 0,-1 1 0 0 0,0 0-1 0 0,1 0 1 0 0,0 0-1 0 0,-1 1 1 0 0,1 0-1 0 0,8-1 1 0 0,-13 2-194 0 0,0 0 0 0 0,-1 0 0 0 0,1 0 0 0 0,0-1 0 0 0,-1 1 0 0 0,1 1 0 0 0,0-1 0 0 0,0 0 0 0 0,-1 0 0 0 0,1 0 0 0 0,0 0 1 0 0,-1 0-1 0 0,2 1 0 0 0,5 1 152 0 0,-4 0-55 0 0,8 6 3 0 0,-10-8-104 0 0,-1 1-1 0 0,1-1 0 0 0,-1 0 1 0 0,1 1-1 0 0,-1-1 1 0 0,1 1-1 0 0,-1-1 1 0 0,1 1-1 0 0,-1-1 1 0 0,1 1-1 0 0,-1 0 0 0 0,0-1 1 0 0,1 1-1 0 0,-1-1 1 0 0,0 1-1 0 0,0 0 1 0 0,1-1-1 0 0,-1 1 1 0 0,0 1-1 0 0,1 0 27 0 0,-1-2-26 0 0,1 1 1 0 0,-1 0 0 0 0,0 0 0 0 0,1 0 0 0 0,-1 0 0 0 0,0 0 0 0 0,0-1-1 0 0,0 1 1 0 0,1 0 0 0 0,-1 0 0 0 0,0 0 0 0 0,0 0 0 0 0,0 0 0 0 0,0 0-1 0 0,-1 1 1 0 0,1 1 20 0 0,0 5 1 0 0,-1 1 1 0 0,0-1-1 0 0,0 0 1 0 0,-1 0-1 0 0,0 0 1 0 0,0 0-1 0 0,-1 0 1 0 0,0 0-1 0 0,-6 10 1 0 0,1 0-14 0 0,-6 14 6 0 0,-1-1 0 0 0,-1 0 0 0 0,-1-1 0 0 0,-2-1 0 0 0,-36 41 0 0 0,42-55 120 0 0,-12 17 1 0 0,19-22 32 0 0,4-8 17 0 0,1 0-4 0 0,-2 6-32 0 0,2-6 293 0 0,3 0-270 0 0,6 7 22 0 0,-6-8-153 0 0,-1 0-1 0 0,1-1 0 0 0,-1 1 0 0 0,1 0 0 0 0,0-1 1 0 0,0 1-1 0 0,-1-1 0 0 0,1 1 0 0 0,0-1 0 0 0,0 0 0 0 0,-1 0 1 0 0,1 0-1 0 0,0 0 0 0 0,2 0 0 0 0,-3 0-45 0 0,9 0 99 0 0,1-1 1 0 0,0 0 0 0 0,19-4-1 0 0,-16 2-90 0 0,80-16-2267 0 0,-64 10-2054 0 0,0-2-3812 0 0,-15 6 2514 0 0</inkml:trace>
</inkml:ink>
</file>

<file path=ppt/ink/ink1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3.2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 1 8 0 0,'-11'12'13775'0'0,"12"-9"-13762"0"0,6 6 2 0 0,-6-7 1 0 0,1 1-5 0 0,3 7-18 0 0,2 2 8 0 0,0 2 4 0 0,14 18 1 0 0,-1-4 19 0 0,32 47 105 0 0,-34-46-80 0 0,-1 1 0 0 0,-1 1 1 0 0,-2 0-1 0 0,14 45 1 0 0,-11-15 26 0 0,15 92 0 0 0,-26-108-247 0 0,-3-1 0 0 0,-2 74 0 0 0,-6-51-221 0 0,-14 72 0 0 0,15-119 388 0 0,0 0 1 0 0,-1-1-1 0 0,-16 39 0 0 0,21-57 18 0 0,-1 0 0 0 0,0 1 0 0 0,1-1 1 0 0,-1 0-1 0 0,0 0 0 0 0,0 1 0 0 0,0-1 0 0 0,0 0 0 0 0,-2 2 0 0 0,0 0 27 0 0,2-3-25 0 0,1 1 1 0 0,-1 0 0 0 0,1-1 0 0 0,-1 1 0 0 0,1-1 0 0 0,-1 1 0 0 0,1-1-1 0 0,-1 1 1 0 0,1-1 0 0 0,-1 1 0 0 0,0-1 0 0 0,1 0 0 0 0,-1 1 0 0 0,0-1-1 0 0,1 0 1 0 0,-2 1 0 0 0,0 0 44 0 0,0-1-37 0 0,1 0 0 0 0,0 1-1 0 0,0-1 1 0 0,0 0 0 0 0,0 0 0 0 0,0 0 0 0 0,0 0 0 0 0,0 0-1 0 0,0 0 1 0 0,0 0 0 0 0,-1 0 0 0 0,1-1 0 0 0,0 1 0 0 0,0 0-1 0 0,0-1 1 0 0,0 1 0 0 0,0 0 0 0 0,0-1 0 0 0,0 1-1 0 0,0-1 1 0 0,0 0 0 0 0,-1-1 0 0 0,1 2-23 0 0,-1-2 10 0 0,-1 0-1 0 0,1 0 1 0 0,-1 0 0 0 0,1-1-1 0 0,0 1 1 0 0,0-1-1 0 0,0 1 1 0 0,0-1-1 0 0,1 0 1 0 0,-3-3-1 0 0,3 3-12 0 0,-9-14-918 0 0,1-1 1 0 0,1 0-1 0 0,0 0 0 0 0,-4-21 1 0 0</inkml:trace>
</inkml:ink>
</file>

<file path=ppt/ink/ink1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4.2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5 0 8 0 0,'0'0'5561'0'0,"-1"2"-4886"0"0,-4 8-79 0 0,3-8-85 0 0,4 1-34 0 0,0 1-197 0 0,1 0 0 0 0,-1 0 1 0 0,1-1-1 0 0,0 1 0 0 0,0 0 0 0 0,1-1 0 0 0,-1 0 0 0 0,8 5 0 0 0,-8-6-128 0 0,1 0 0 0 0,-1-1 0 0 0,1 1 0 0 0,-1-1 0 0 0,1 0 0 0 0,0 0 0 0 0,-1 0 0 0 0,1 0 0 0 0,7 0 0 0 0,12-6 326 0 0,-21 4-342 0 0,-1 1-128 0 0,-1 0-1 0 0,0 0 1 0 0,1 0 0 0 0,-1 0 0 0 0,1 0 0 0 0,-1 0 0 0 0,0 0-1 0 0,1 0 1 0 0,-1 0 0 0 0,0-1 0 0 0,1 1 0 0 0,-1 0 0 0 0,0 0 0 0 0,1 0-1 0 0,-1-1 1 0 0,0 1 0 0 0,0 0 0 0 0,1 0 0 0 0,-1-1 0 0 0,0 1 0 0 0,0 0-1 0 0,1-1 1 0 0,-1 1 4 0 0,0-1 0 0 0,1 1-1 0 0,-1 0 1 0 0,0 0-1 0 0,0-1 1 0 0,1 1 0 0 0,-1 0-1 0 0,0 0 1 0 0,0-1 0 0 0,1 1-1 0 0,-1 0 1 0 0,0 0-1 0 0,1 0 1 0 0,-1 0 0 0 0,0-1-1 0 0,1 1 1 0 0,-1 0 0 0 0,1 0-1 0 0,-1 0 1 0 0,0 0 0 0 0,1 0-1 0 0,0 0 1 0 0,0-2 93 0 0,7-8 4 0 0,-6 8 116 0 0,-2 0-115 0 0,0-8-15 0 0,0 8 40 0 0,-3 0-139 0 0,-7-6-16 0 0,7 6-24 0 0,1 1-15 0 0,0 1 50 0 0,-4-1-70 0 0,0 0 1 0 0,1 0-1 0 0,-1 1 1 0 0,0-1-1 0 0,-6 2 1 0 0,-16 5-148 0 0,-6 6 21 0 0,32-11 154 0 0,-1 1 6 0 0,-7 5-8 0 0,7-5-2 0 0,2 0-58 0 0,-3 8 47 0 0,2-8-2 0 0,4 0-36 0 0,-1 1 55 0 0,1 0 1 0 0,0 0-1 0 0,0 0 0 0 0,1 0 0 0 0,-1-1 0 0 0,1 1 0 0 0,-1-1 1 0 0,1 0-1 0 0,0 1 0 0 0,-1-1 0 0 0,1-1 0 0 0,6 4 0 0 0,-6-4-16 0 0,9 4-1790 0 0,7 3-4550 0 0,-5-2 3256 0 0</inkml:trace>
</inkml:ink>
</file>

<file path=ppt/ink/ink1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5.04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55 97 8 0 0,'1'-35'0'0'0,"-1"4"724"0"0,-2 21 661 0 0,0 2 1000 0 0,0 6-1759 0 0,-5-6-159 0 0,5 6 11 0 0,-1 2-356 0 0,-6 0-36 0 0,7 0-8 0 0,1 1-69 0 0,1-1 1 0 0,-1 1-1 0 0,1-1 1 0 0,-1 1-1 0 0,1 0 1 0 0,-1-1-1 0 0,1 1 1 0 0,-1-1-1 0 0,0 0 1 0 0,1 1-1 0 0,-1-1 1 0 0,-1 1 0 0 0,0 0 14 0 0,0 1 64 0 0,0 0 10 0 0,-7 7 25 0 0,6-6 36 0 0,1 0 38 0 0,-15 14 322 0 0,6-5-198 0 0,0 0 1 0 0,0 1-1 0 0,-10 17 1 0 0,6-6-234 0 0,1-1-61 0 0,2 1 0 0 0,1 0 0 0 0,-13 41 1 0 0,13-27 3 0 0,2 0 1 0 0,-4 39 0 0 0,3 25 1033 0 0,4 1 0 0 0,4 0 0 0 0,5-1 0 0 0,5 1 0 0 0,23 118 0 0 0,-23-185-776 0 0,0-1 0 0 0,3 1 0 0 0,1-2 0 0 0,1 0 0 0 0,30 53 0 0 0,-39-79-282 0 0,1 0 1 0 0,0-1-1 0 0,1 0 0 0 0,0 0 1 0 0,0 0-1 0 0,0-1 0 0 0,1 0 1 0 0,0 0-1 0 0,12 8 0 0 0,-16-13-11 0 0,-2 0 2 0 0,0 0 1 0 0,1 0-1 0 0,-1 0 0 0 0,1-1 1 0 0,-1 1-1 0 0,1 0 1 0 0,-1-1-1 0 0,2 1 1 0 0,9 1-35 0 0,-3 1-236 0 0,0-1 1 0 0,0-1 0 0 0,16 1-1 0 0,-15-2-2666 0 0,21-3 0 0 0,-5-3-5564 0 0</inkml:trace>
</inkml:ink>
</file>

<file path=ppt/ink/ink1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5.89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67 1 8 0 0,'-13'2'0'0'0,"-2"6"0"0"0,-2 5 0 0 0,-2 5 7 0 0,3-2 434 0 0,1 1-1 0 0,1 1 1 0 0,0 1 0 0 0,-17 31 0 0 0,8-5 1654 0 0,-18 47 0 0 0,30-63-1181 0 0,2-1 0 0 0,1 1-1 0 0,1 1 1 0 0,2-1 0 0 0,1 1 0 0 0,-1 51-1 0 0,6-53-583 0 0,0 1 0 0 0,2-1 0 0 0,1 0-1 0 0,2 0 1 0 0,0-1 0 0 0,2 1 0 0 0,13 30-1 0 0,1-8-130 0 0,38 63-1 0 0,-49-94-175 0 0,1-1-1 0 0,1-1 1 0 0,1 0 0 0 0,0 0-1 0 0,1-2 1 0 0,21 18-1 0 0,-33-31-60 0 0,-1 0 0 0 0,1 0 0 0 0,0 0-1 0 0,0-1 1 0 0,0 1 0 0 0,1-1 0 0 0,-1 1 0 0 0,0-1-1 0 0,0 0 1 0 0,5 0 0 0 0,-4 0-309 0 0,-1-1 0 0 0,1 0 1 0 0,0 0-1 0 0,0 0 0 0 0,-1 0 0 0 0,1-1 1 0 0,0 1-1 0 0,-1-1 0 0 0,1 0 0 0 0,0 0 0 0 0,-1 0 1 0 0,0-1-1 0 0,1 1 0 0 0,-1-1 0 0 0,0 0 1 0 0,1 0-1 0 0,3-3 0 0 0,1-2-1167 0 0,0 1 1 0 0,-1-1-1 0 0,1-1 1 0 0,-1 0-1 0 0,6-10 1 0 0,0 1 1266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4.15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21 8 0 0,'2'1'1984'0'0,"19"2"3339"0"0,13 1-1651 0 0,-34-4-3667 0 0,15 0 404 0 0,0-1 1 0 0,0 0 0 0 0,-1 0-1 0 0,1-2 1 0 0,0 0 0 0 0,-1 0-1 0 0,0-2 1 0 0,0 0 0 0 0,18-8 0 0 0,73-41-1269 0 0,-70 36-1758 0 0,-16 8-542 0 0,-7 5-1962 0 0,5-1 1796 0 0</inkml:trace>
</inkml:ink>
</file>

<file path=ppt/ink/ink1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6.2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 652 8 0 0,'0'0'8863'0'0,"0"-3"-7939"0"0,-1-8-142 0 0,2 5-141 0 0,82-145 1561 0 0,65-109-2058 0 0,-87 157-209 0 0,-4-11 80 0 0,-56 111-26 0 0,-4 5-272 0 0,1 0 266 0 0,1-1 12 0 0,0-1 1 0 0,0 1-1 0 0,0 0 0 0 0,0-1 1 0 0,0 1-1 0 0,1 0 1 0 0,-1 0-1 0 0,0-1 1 0 0,1 1-1 0 0,-1 0 1 0 0,0 0-1 0 0,1 0 1 0 0,-1 0-1 0 0,1 0 1 0 0,0 0-1 0 0,-1 1 0 0 0,-7 16-13 0 0,-41 98-221 0 0,39-89 436 0 0,2 1 0 0 0,-8 43 0 0 0,13-46 39 0 0,1-1 0 0 0,0 1 0 0 0,5 45 0 0 0,2-31-64 0 0,18 68 0 0 0,-14-70-391 0 0,-7-27-103 0 0,-1-8-220 0 0</inkml:trace>
</inkml:ink>
</file>

<file path=ppt/ink/ink1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6.60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70 8 0 0,'2'-2'6904'0'0,"3"0"-5941"0"0,1 0 0 0 0,-1 0 0 0 0,1 1 1 0 0,0-1-1 0 0,9 0 0 0 0,84-10 1076 0 0,-74 8-1968 0 0,-20 3-71 0 0,-1 0 0 0 0,1 0 0 0 0,0 1 0 0 0,0-1 1 0 0,5 1-1 0 0,-8 1-39 0 0,-4 0-565 0 0,-8 5 420 0 0,7-5-19 0 0,0-1-3 0 0,-3-2-144 0 0,0 0 0 0 0,-11-5 0 0 0,-9-8-1637 0 0,24 13 1193 0 0,0 1-154 0 0,-8-6-171 0 0,-3-3-4221 0 0</inkml:trace>
</inkml:ink>
</file>

<file path=ppt/ink/ink1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6.96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4 47 8 0 0,'19'-46'9675'0'0,"-18"48"-9268"0"0,0 4-132 0 0,-1 1 0 0 0,1-1 1 0 0,-1 0-1 0 0,-1 0 0 0 0,1 0 0 0 0,-1 0 0 0 0,0 0 0 0 0,-3 10 0 0 0,1-4-33 0 0,-73 445 2489 0 0,66-384-2443 0 0,-9 55 625 0 0,19-125-187 0 0,1-6-676 0 0,21-65-973 0 0,-15 42-2070 0 0,6-39 0 0 0,-9-1-7569 0 0,-4 47 10525 0 0</inkml:trace>
</inkml:ink>
</file>

<file path=ppt/ink/ink1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7.29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 119 8 0 0,'-12'-27'12472'0'0,"14"27"-11760"0"0,2-2-137 0 0,1 1 0 0 0,-1 0 1 0 0,8 0-1 0 0,19-1 927 0 0,-22 1-1235 0 0,14-3 92 0 0,88-30 71 0 0,-34 9-3471 0 0,-64 22 755 0 0,-2-1-264 0 0,-6 2 540 0 0,-1 1 755 0 0,2-2-383 0 0,20-4-3625 0 0</inkml:trace>
</inkml:ink>
</file>

<file path=ppt/ink/ink1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48.7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2 43 8 0 0,'-4'-15'0'0'0,"-4"-13"9754"0"0,10 30-9625 0 0,-1-2-105 0 0,-1 1-13 0 0,1 0 0 0 0,-1 0 0 0 0,1-1 0 0 0,0 1 0 0 0,0-1 1 0 0,-1 1-1 0 0,1-1 0 0 0,0 1 0 0 0,0-1 0 0 0,0 1 0 0 0,-1-1 0 0 0,3 1 70 0 0,-1 0-16 0 0,19 13 158 0 0,-19-12-186 0 0,0 0 18 0 0,4 2 57 0 0,-1 0-1 0 0,1 0 1 0 0,-1 1-1 0 0,-1 0 1 0 0,1 0 0 0 0,4 6-1 0 0,-6-7-54 0 0,6 13 238 0 0,5 12 78 0 0,-3 1-1 0 0,0 0 1 0 0,-2 0-1 0 0,8 49 0 0 0,-8-18 284 0 0,1 91-1 0 0,-9-122-385 0 0,-2-1 0 0 0,-1 0 0 0 0,-1 1 0 0 0,-2-1 0 0 0,-1 0 0 0 0,-16 49 0 0 0,17-67-134 0 0,0 0-1 0 0,-1 0 1 0 0,0-1 0 0 0,-9 13 0 0 0,-34 35 115 0 0,21-26-270 0 0,5-4-3 0 0,21-26 8 0 0,0 1-5 0 0,-8 7-10 0 0,8-8-5 0 0,0-13-3934 0 0,1 9 3166 0 0</inkml:trace>
</inkml:ink>
</file>

<file path=ppt/ink/ink1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3.09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1 1 8 0 0,'0'0'2247'0'0,"-1"2"-1543"0"0,-1 0-343 0 0,1 1 0 0 0,0-1-1 0 0,0 1 1 0 0,0-1 0 0 0,0 1-1 0 0,0 4 1 0 0,0-5 155 0 0,1 1-207 0 0,0 0 1 0 0,0 1-1 0 0,0-1 1 0 0,0 0-1 0 0,0 0 0 0 0,1 5 1 0 0,0-6 522 0 0,10 2-511 0 0,-8-4-189 0 0,-1-1-33 0 0,7-5-23 0 0,-6 5-9 0 0,-1-1-19 0 0,9-6 1 0 0,-8 6-14 0 0,-1-1-10 0 0,8-8-9 0 0,0-4-91 0 0,-8 13 2 0 0,-4 1-815 0 0,0 0 844 0 0,-7-3-149 0 0,6 6 130 0 0,-53 42 5 0 0,54-42 148 0 0,0 0 46 0 0,-9 7 39 0 0,9-6 457 0 0,0-1-519 0 0,-5 6-2 0 0,5-6 251 0 0,4-4-330 0 0,-2 2-40 0 0,2-2-7 0 0,0 0-1 0 0,0 0 0 0 0,0 0 0 0 0,0 0 0 0 0,0 0 0 0 0,1 1 0 0 0,-1-1 1 0 0,0 1-1 0 0,5-2 0 0 0,-7 3-9 0 0,0 0 1 0 0,1 0 0 0 0,-1 0-1 0 0,0 0 1 0 0,1 0 0 0 0,-1 0-1 0 0,1 0 1 0 0,-1 1 0 0 0,0-1-1 0 0,1 0 1 0 0,-1 0-1 0 0,0 0 1 0 0,1 0 0 0 0,-1 1-1 0 0,0-1 1 0 0,1 0 0 0 0,-1 0-1 0 0,1 1 1 0 0,-1-1-49 0 0,0 0 1 0 0,0 1-1 0 0,1-1 0 0 0,-1 0 1 0 0,0 0-1 0 0,1 1 0 0 0,-1-1 1 0 0,0 0-1 0 0,1 0 1 0 0,-1 0-1 0 0,0 0 0 0 0,1 0 1 0 0,-1 1-1 0 0,0-1 0 0 0,1 0 1 0 0,-1 0-1 0 0,0 0 0 0 0,1 0 1 0 0,8 15-6264 0 0</inkml:trace>
</inkml:ink>
</file>

<file path=ppt/ink/ink1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3.62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4 58 8 0 0,'-8'-16'2597'0'0,"-3"-10"3863"0"0,8 24-5887 0 0,-7-4-63 0 0,7 4-49 0 0,3 2-432 0 0,0 0 0 0 0,-1 0 0 0 0,1 0 0 0 0,0 0 0 0 0,-1 0 0 0 0,1 0 0 0 0,0 0-1 0 0,-1 0 1 0 0,1 0 0 0 0,0 0 0 0 0,-1 0 0 0 0,1 0 0 0 0,0 0 0 0 0,-1-1 0 0 0,1 1 0 0 0,0 0 0 0 0,-1 0 0 0 0,1 0 0 0 0,-1-1 0 0 0,1 1 13 0 0,0-1 0 0 0,-1 1 1 0 0,1 0-1 0 0,-1-1 0 0 0,1 1 1 0 0,-1 0-1 0 0,1 0 1 0 0,-1-1-1 0 0,1 1 0 0 0,-1 0 1 0 0,0 0-1 0 0,1 0 0 0 0,-1 0 1 0 0,1 0-1 0 0,-1 0 0 0 0,1 0 1 0 0,-1 0-1 0 0,1 0 0 0 0,-2 0 1 0 0,-9 0 265 0 0,8 0-18 0 0,1 1-8 0 0,-9 1-9 0 0,8-1-23 0 0,0 0-1 0 0,-24 18 670 0 0,25-17-850 0 0,0 1 1 0 0,-1 0 0 0 0,1-1-1 0 0,0 1 1 0 0,0 0-1 0 0,1 0 1 0 0,-4 6-1 0 0,4-6-48 0 0,-14 26 326 0 0,2 1-1 0 0,-14 45 1 0 0,-9 62 530 0 0,28-104-705 0 0,5-19 1 0 0,0 0 0 0 0,1 0-1 0 0,0 0 1 0 0,1 0 0 0 0,1 20 0 0 0,0-32-149 0 0,0-1 0 0 0,0 1 0 0 0,1 0 0 0 0,-1-1 0 0 0,0 1 0 0 0,1-1 0 0 0,0 1 0 0 0,-1-1 0 0 0,2 3 0 0 0,0 0 16 0 0,-2-3-27 0 0,1 0-1 0 0,-1 1 1 0 0,1-1-1 0 0,-1 0 0 0 0,1 1 1 0 0,-1-1-1 0 0,1 0 1 0 0,0 0-1 0 0,0 0 0 0 0,0 0 1 0 0,0 1-1 0 0,1 0 0 0 0,1 1 17 0 0,-2-2-18 0 0,0 1 0 0 0,0-1 0 0 0,0 1 1 0 0,0-1-1 0 0,0 1 0 0 0,1-1 0 0 0,-1 0 0 0 0,1 0 1 0 0,1 1-1 0 0,0 1 5 0 0,4 3-10 0 0,0-1 0 0 0,0 0 0 0 0,0 0 1 0 0,1-1-1 0 0,10 5 0 0 0,38 12-859 0 0,-56-21 841 0 0,15 5-1531 0 0,1-1 0 0 0,24 3 0 0 0,32-2-10885 0 0,-56-5 11414 0 0</inkml:trace>
</inkml:ink>
</file>

<file path=ppt/ink/ink1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4.03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4 70 8 0 0,'-3'-2'5270'0'0,"1"-1"-4758"0"0,-7-5 3245 0 0,8 9-3679 0 0,0-1-1 0 0,0 0 1 0 0,1 0-1 0 0,-1 0 1 0 0,0 0-1 0 0,0 0 1 0 0,1 0-1 0 0,-1 0 1 0 0,0 0-1 0 0,0 0 1 0 0,1 0-1 0 0,-2 0 1 0 0,0-1 88 0 0,-1 1 789 0 0,1 1-587 0 0,-20 14 404 0 0,20-12-733 0 0,0-1-18 0 0,-2 6 36 0 0,0 0-1 0 0,1 0 1 0 0,-6 16 0 0 0,5 7 346 0 0,3-20-125 0 0,1 1-31 0 0,1-8-111 0 0,7 29 718 0 0,-5-27-595 0 0,0 1 0 0 0,0 0 0 0 0,6 8 0 0 0,-7-11-218 0 0,-1-3-10 0 0,0 1-1 0 0,0-1 1 0 0,0 1-1 0 0,0 0 1 0 0,0-1-1 0 0,0 0 1 0 0,3 3-1 0 0,-1-1 10 0 0,-3-2-28 0 0,1 0 1 0 0,0 0-1 0 0,0-1 0 0 0,-1 1 0 0 0,1 0 1 0 0,0 0-1 0 0,0 0 0 0 0,0-1 1 0 0,0 1-1 0 0,0-1 0 0 0,0 1 0 0 0,2 0 1 0 0,0 1 14 0 0,-2-1-17 0 0,0-1-1 0 0,0 1 1 0 0,-1 0 0 0 0,1-1 0 0 0,0 1 0 0 0,0-1-1 0 0,0 1 1 0 0,0-1 0 0 0,1 1 0 0 0,-1-1 0 0 0,0 0-1 0 0,0 1 1 0 0,0-1 0 0 0,0 0 0 0 0,2 0 0 0 0,3 0 58 0 0,-4 1-47 0 0,-1-1-14 0 0,0 1 0 0 0,0-1 0 0 0,-1 0-1 0 0,1 0 1 0 0,0 0 0 0 0,0 0 0 0 0,0 0-1 0 0,0 1 1 0 0,-1-2 0 0 0,1 1 0 0 0,0 0-1 0 0,0 0 1 0 0,0 0 0 0 0,0 0 0 0 0,-1 0-1 0 0,1-1 1 0 0,1 0 0 0 0,32-15 209 0 0,-33 15-208 0 0,1 1 1 0 0,-1-1-1 0 0,0 0 1 0 0,1 0-1 0 0,-1 0 0 0 0,0 0 1 0 0,0 0-1 0 0,0-1 1 0 0,0 1-1 0 0,0 0 0 0 0,0 0 1 0 0,1-2-1 0 0,2-2 11 0 0,4-7 20 0 0,-1 0-1 0 0,0 0 1 0 0,0-1-1 0 0,4-13 1 0 0,2-2 20 0 0,-9 19-37 0 0,1-1 0 0 0,-2 0-1 0 0,1 0 1 0 0,-1 0 0 0 0,0 0 0 0 0,-1-1-1 0 0,-1 1 1 0 0,1-1 0 0 0,-1-12-1 0 0,-1 22-17 0 0,0 0-1 0 0,0 0 1 0 0,0 0-1 0 0,-1 0 1 0 0,1 0-1 0 0,0 0 0 0 0,0 0 1 0 0,0 0-1 0 0,-1 0 1 0 0,1 0-1 0 0,0 0 0 0 0,-2-1 1 0 0,1-1 2 0 0,0 3-5 0 0,1-1-1 0 0,0 0 1 0 0,0 1-1 0 0,-1-1 1 0 0,1 0-1 0 0,0 1 1 0 0,-1-1-1 0 0,1 1 1 0 0,-1-1-1 0 0,1 1 1 0 0,-1-1-1 0 0,1 1 1 0 0,-1-1-1 0 0,1 1 1 0 0,-1-1-1 0 0,0 1 1 0 0,1-1-1 0 0,-2 1 1 0 0,0-1-2 0 0,2 0 0 0 0,-1 0-1 0 0,0 1 0 0 0,1-1 1 0 0,-1 1-1 0 0,0-1 0 0 0,0 1 1 0 0,1-1-1 0 0,-1 1 0 0 0,0-1 1 0 0,0 1-1 0 0,0 0 0 0 0,0-1 1 0 0,-1 1-1 0 0,0-1-5 0 0,1 1 4 0 0,0-1 1 0 0,0 1-1 0 0,0 0 1 0 0,0-1 0 0 0,1 1-1 0 0,-1 0 1 0 0,0 0-1 0 0,0 0 1 0 0,0-1-1 0 0,0 1 1 0 0,0 0-1 0 0,0 0 1 0 0,1 1-1 0 0,-1-1 1 0 0,0 0-1 0 0,-2 0 1 0 0,1 1-7 0 0,-4-1-15 0 0,1 1 0 0 0,-1-1 0 0 0,1 1 0 0 0,0 1 0 0 0,-1-1 0 0 0,1 1 0 0 0,0 0 0 0 0,0 0 0 0 0,-7 4 0 0 0,2 0-154 0 0,1 0 0 0 0,0 0 0 0 0,-11 10 0 0 0,-9 14-1053 0 0,19-21 256 0 0,9-8 873 0 0,0 0 0 0 0,0 0-1 0 0,1 0 1 0 0,-1 0 0 0 0,0 0 0 0 0,0 0-1 0 0,1 0 1 0 0,-1 1 0 0 0,1-1 0 0 0,-1 2-1 0 0,-2 2-708 0 0,1 1-824 0 0,0 0 1 0 0,0 0 0 0 0,-1 7-1 0 0,17 4-4454 0 0</inkml:trace>
</inkml:ink>
</file>

<file path=ppt/ink/ink1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4.79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 38 8 0 0,'-9'0'1561'0'0,"19"-2"2044"0"0,21-1 3254 0 0,-29 3-6399 0 0,78-10 1046 0 0,-32 3-596 0 0,53-7-24 0 0,-3 14-492 0 0,-96 0-386 0 0,3-1 136 0 0,-2 1-1051 0 0</inkml:trace>
</inkml:ink>
</file>

<file path=ppt/ink/ink1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5.12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5 13 8 0 0,'-9'-13'7832'0'0,"7"15"-7460"0"0,-6 8 18 0 0,5-5-2 0 0,-9 90 2719 0 0,1 114 1 0 0,14-135-2045 0 0,-2-62-820 0 0,1 1 1 0 0,0-1-1 0 0,6 19 0 0 0,-7-29-107 0 0,-1-1-130 0 0,0 0-1 0 0,1 0 1 0 0,-1 0 0 0 0,1-1-1 0 0,-1 1 1 0 0,1 0 0 0 0,-1-1-1 0 0,1 1 1 0 0,-1 0-1 0 0,1-1 1 0 0,-1 1 0 0 0,2 0-1 0 0,-1 0 5 0 0,1 1 34 0 0,0-4-367 0 0,6-5-81 0 0,-6 5-254 0 0,-2 1 572 0 0,0 1 0 0 0,0-1 0 0 0,0 1 0 0 0,0 0 0 0 0,0-1-1 0 0,0 1 1 0 0,0-1 0 0 0,0 1 0 0 0,1-1 0 0 0,-1 1 0 0 0,0 0-1 0 0,0-1 1 0 0,0 1 0 0 0,1-1 0 0 0,-1 1 0 0 0,0 0 0 0 0,1-1-1 0 0,4-9-2761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4.7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7 158 2897 0 0,'-2'2'2584'0'0,"-8"4"-1718"0"0,5 0-534 0 0,-1 7 32 0 0,0 0-1 0 0,1 1 1 0 0,-4 19 0 0 0,-7 49 1674 0 0,11-48-1908 0 0,2 1 1 0 0,3 61-1 0 0,15 69-204 0 0,-14-152 74 0 0,18 113 41 0 0,46 161-1 0 0,-61-273 2250 0 0,-6-17-1551 0 0,-20-62 390 0 0,3-1 1 0 0,-12-72 0 0 0,22 77-1032 0 0,2 0 1 0 0,2-91-1 0 0,28-121-201 0 0,-18 234 36 0 0,16-58 1 0 0,-17 86 30 0 0,0-1 0 0 0,0 1 0 0 0,1 0-1 0 0,0 0 1 0 0,1 0 0 0 0,0 1 0 0 0,1 0-1 0 0,0 0 1 0 0,11-11 0 0 0,-14 18 2 0 0,-1 0 1 0 0,0 1-1 0 0,1-1 0 0 0,0 1 1 0 0,-1 0-1 0 0,1 0 1 0 0,0 1-1 0 0,0-1 0 0 0,8-1 1 0 0,-4 3-55 0 0,8 4 13 0 0,-9 1 30 0 0,0 3 32 0 0,0 0 0 0 0,0 0 0 0 0,-1 0 1 0 0,0 1-1 0 0,-1 0 0 0 0,8 16 0 0 0,-5 0-12 0 0,0 0-1 0 0,-1 0 0 0 0,5 51 0 0 0,-3 79-51 0 0,-11-96 420 0 0,-13 86-1 0 0,6-70 571 0 0,8-65-814 0 0,0-3-72 0 0,0 0-1 0 0,1 0 1 0 0,-1 0 0 0 0,2 0-1 0 0,-1 0 1 0 0,2 8-1 0 0,0-10-56 0 0,0 1 0 0 0,0 0 0 0 0,3 5 0 0 0,-4-8-80 0 0,2-2-98 0 0,10 5-140 0 0,-6-6-170 0 0,36-12-1961 0 0,25-14-5564 0 0,10-4 2123 0 0,-38 17 5920 0 0,71-24 0 0 0,-90 29 0 0 0,26-8 7190 0 0,-47 19-6192 0 0,-1 1-748 0 0,1-1 0 0 0,0 1 0 0 0,-1 0-1 0 0,0-1 1 0 0,0 1 0 0 0,0-1 0 0 0,0 1-1 0 0,-1-1 1 0 0,1 1 0 0 0,-3 3 0 0 0,-12 18-357 0 0,10-16-619 0 0,1-2-182 0 0,1-3-224 0 0,-17 21-5264 0 0,17-21 4980 0 0,-7 5 1165 0 0</inkml:trace>
</inkml:ink>
</file>

<file path=ppt/ink/ink1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1.79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7 44 8 0 0,'1'-12'35'0'0,"0"-9"5224"0"0,-2 11-1446 0 0,-1 10-3453 0 0,-7 0-37 0 0,7 0-26 0 0,-1 2-14 0 0,-14 12 398 0 0,0 0 1 0 0,2 1-1 0 0,0 0 0 0 0,-16 22 0 0 0,15-17-358 0 0,1 1 0 0 0,1 1 0 0 0,0-1 0 0 0,2 2 0 0 0,1 0 0 0 0,0 0 0 0 0,2 1 0 0 0,1 1 0 0 0,1-1 0 0 0,1 1 0 0 0,-4 28 0 0 0,8-26-145 0 0,0 0-1 0 0,4 36 1 0 0,-1-47-140 0 0,2 0 0 0 0,-1 0 0 0 0,2 0 0 0 0,0 0 0 0 0,8 17 0 0 0,-8-25-25 0 0,0 0-1 0 0,0 0 0 0 0,0-1 0 0 0,1 1 1 0 0,0-1-1 0 0,10 9 0 0 0,-11-11-77 0 0,1-1 1 0 0,0 0-1 0 0,-1 0 0 0 0,1-1 0 0 0,1 1 1 0 0,-1-1-1 0 0,0 0 0 0 0,1-1 1 0 0,10 5-1 0 0,-11-6-294 0 0,0 0 0 0 0,0-1 0 0 0,0 1 1 0 0,0-1-1 0 0,0 0 0 0 0,0 0 0 0 0,0 0 1 0 0,-1-1-1 0 0,1 0 0 0 0,0 0 0 0 0,8-3 0 0 0,2-2-2718 0 0,1 0-1 0 0,15-10 0 0 0,-8 3-723 0 0,-4 4 3289 0 0,-1-2 512 0 0</inkml:trace>
</inkml:ink>
</file>

<file path=ppt/ink/ink1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2.14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9 75 8 0 0,'-14'-5'144'0'0,"14"5"-7"0"0,-1 0 0 0 0,0-1 0 0 0,0 1 0 0 0,0 0 0 0 0,1 0 0 0 0,-1 0-1 0 0,0 0 1 0 0,0-1 0 0 0,0 1 0 0 0,1 0 0 0 0,-1 0 0 0 0,0 0 0 0 0,0 1 0 0 0,-9 0 3738 0 0,-14 5-766 0 0,22-6-2344 0 0,-1 1-83 0 0,0 0-401 0 0,-8 0 2861 0 0,10-3-2787 0 0,-7-6-79 0 0,6 6-60 0 0,3 0-53 0 0,4-7-38 0 0,-4 7-12 0 0,2 0-1 0 0,-2 0-108 0 0,6-4 129 0 0,0 0 0 0 0,0 1 0 0 0,0 0 0 0 0,13-8-1 0 0,-16 11-103 0 0,12-4 97 0 0,-11 5-104 0 0,14-3 67 0 0,-12 3-71 0 0,1 1 0 0 0,-1-1 0 0 0,0 1 0 0 0,1 0 0 0 0,-1 1 0 0 0,0 0 0 0 0,1 0 0 0 0,13 5 1 0 0,-19-5 14 0 0,0 2 10 0 0,6 9 15 0 0,-7-12-52 0 0,0 1 0 0 0,-1 0-1 0 0,0-1 1 0 0,1 1 0 0 0,-1 0 0 0 0,1 0-1 0 0,-1-1 1 0 0,0 1 0 0 0,0 0 0 0 0,1 0-1 0 0,-1-1 1 0 0,0 1 0 0 0,0 0-1 0 0,0 0 1 0 0,0 0 0 0 0,0-1 0 0 0,0 1-1 0 0,0 1 1 0 0,0 1 16 0 0,0 0-1 0 0,0 1 1 0 0,0-1 0 0 0,0 0-1 0 0,0 1 1 0 0,-1-1-1 0 0,1 1 1 0 0,-1-1-1 0 0,0 0 1 0 0,0 1-1 0 0,-2 3 1 0 0,-3 4 48 0 0,-8 15 1 0 0,11-20-50 0 0,-42 64 192 0 0,21-34 307 0 0,2 1-1 0 0,-25 56 0 0 0,45-88-394 0 0,0 1 0 0 0,0-1 1 0 0,1 1-1 0 0,-1 9 0 0 0,2-14-111 0 0,0-1-1 0 0,-1 1 0 0 0,1-1 0 0 0,0 1 0 0 0,0-1 0 0 0,0 1 0 0 0,0-1 0 0 0,0 1 0 0 0,0-1 0 0 0,1 1 0 0 0,-1 0 0 0 0,0-1 0 0 0,0 1 1 0 0,0-1-1 0 0,0 1 0 0 0,1 0 0 0 0,0 4 201 0 0,1-3-64 0 0,0-1-135 0 0,-1 0 11 0 0,0 0 0 0 0,0 0 0 0 0,0 0 1 0 0,0 0-1 0 0,1 0 0 0 0,-1 0 0 0 0,0-1 0 0 0,0 1 0 0 0,1 0 1 0 0,-1-1-1 0 0,1 1 0 0 0,-1-1 0 0 0,0 0 0 0 0,1 1 0 0 0,-1-1 0 0 0,1 0 1 0 0,2 0-1 0 0,4 0 18 0 0,0-1 1 0 0,1 0-1 0 0,-1-1 1 0 0,10-3-1 0 0,38-14-692 0 0,-7 2-2359 0 0,-30 12 1137 0 0,47-13-12075 0 0,-48 15 12687 0 0</inkml:trace>
</inkml:ink>
</file>

<file path=ppt/ink/ink1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3.35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1 8 0 0,'-1'1'297'0'0,"1"0"-1"0"0,0 0 1 0 0,-1 0 0 0 0,1 0 0 0 0,0 0-1 0 0,0 0 1 0 0,0 0 0 0 0,0 0 0 0 0,0 0-1 0 0,0 0 1 0 0,0 1 0 0 0,0-1-1 0 0,0 0 1 0 0,1 0 0 0 0,-1 0 0 0 0,0 0-1 0 0,0 0 1 0 0,1 0 0 0 0,0 2 0 0 0,1-1 612 0 0,0-1-126 0 0,6 4-103 0 0,0-1-1 0 0,1 0 1 0 0,-1-1-1 0 0,1 1 1 0 0,0-2-1 0 0,17 4 1 0 0,9-1 531 0 0,1-2 0 0 0,65-1 0 0 0,-64-2-1021 0 0,-28 0-435 0 0,1 0-1 0 0,18 3 0 0 0,-26-2-287 0 0</inkml:trace>
</inkml:ink>
</file>

<file path=ppt/ink/ink1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3.71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9 35 8 0 0,'-1'-11'111'0'0,"-2"-13"8351"0"0,-3 41-6714 0 0,-3 21-913 0 0,-37 203 3727 0 0,38-181-4250 0 0,3 0 0 0 0,4 100 0 0 0,2-145-742 0 0,1-1-1 0 0,0 1 1 0 0,4 14-1 0 0,-3-18-3741 0 0,9 20-1 0 0,5-17-2414 0 0</inkml:trace>
</inkml:ink>
</file>

<file path=ppt/ink/ink1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4.20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 0 8 0 0,'-8'15'0'0'0,"1"2"0"0"0,6-15 23 0 0,-2 7 864 0 0,0-1 1 0 0,0 1 0 0 0,1 0-1 0 0,-2 13 1 0 0,3 1 400 0 0,3 25 1085 0 0,11 68-1 0 0,-4-53-1272 0 0,-3 0 0 0 0,-3 1 0 0 0,-2-1 0 0 0,-8 68 0 0 0,1-97-937 0 0,6-34-164 0 0,0 0 1 0 0,0 1 0 0 0,0-1-1 0 0,0 0 1 0 0,0 1-1 0 0,-1-1 1 0 0,1 0 0 0 0,0 1-1 0 0,0-1 1 0 0,0 0-1 0 0,0 0 1 0 0,0 1 0 0 0,0-1-1 0 0,-1 0 1 0 0,1 0-1 0 0,0 1 1 0 0,0-1 0 0 0,0 0-1 0 0,-1 0 1 0 0,1 0-1 0 0,0 0 1 0 0,0 1 0 0 0,-1-1-1 0 0,1 0 1 0 0</inkml:trace>
</inkml:ink>
</file>

<file path=ppt/ink/ink1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4.60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 104 8 0 0,'-8'-16'2673'0'0,"7"13"-2058"0"0,0 2-341 0 0,1 0 0 0 0,-1 1 0 0 0,1-1 0 0 0,-1 0 1 0 0,1 0-1 0 0,0 0 0 0 0,0 0 0 0 0,-1 0 1 0 0,1 0-1 0 0,0-1 0 0 0,3-6 1984 0 0,-3 8-2173 0 0,0 0 1 0 0,0-1-1 0 0,1 1 0 0 0,-1 0 1 0 0,0-1-1 0 0,0 1 0 0 0,0 0 1 0 0,0-1-1 0 0,0 1 0 0 0,0 0 1 0 0,1-1-1 0 0,-1 1 0 0 0,0 0 1 0 0,0-1-1 0 0,0 1 1 0 0,0-1-1 0 0,0 1 0 0 0,0 0 1 0 0,0-1-1 0 0,2-2 1012 0 0,0 0-801 0 0,-2 2-186 0 0,1 1-1 0 0,0-1 1 0 0,-1 0-1 0 0,1 0 1 0 0,0 0-1 0 0,0 0 1 0 0,0 1-1 0 0,-1-1 1 0 0,1 0-1 0 0,0 1 1 0 0,0-1-1 0 0,2 0 0 0 0,0-1 146 0 0,-2 1-154 0 0,0 0 1 0 0,0 0-1 0 0,0 1 0 0 0,0-1 1 0 0,1 1-1 0 0,-1-1 1 0 0,0 1-1 0 0,0-1 0 0 0,0 1 1 0 0,0-1-1 0 0,3 1 0 0 0,40-9 1495 0 0,69-5 0 0 0,-16 9-1477 0 0,-31 3-4054 0 0,20-1-9418 0 0,-68 2 12774 0 0</inkml:trace>
</inkml:ink>
</file>

<file path=ppt/ink/ink1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4.96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25 88 4009 0 0,'-1'-2'1890'0'0,"-1"-43"4266"0"0,1 20-4916 0 0,0 22-1057 0 0,1 1-39 0 0,-4-8 148 0 0,2 10-216 0 0,-2 0-38 0 0,0 0 1 0 0,0 0 0 0 0,0 0-1 0 0,0 1 1 0 0,0-1 0 0 0,0 1-1 0 0,1 0 1 0 0,-1 0 0 0 0,-4 2-1 0 0,-1 1 53 0 0,1 1 0 0 0,0 0 0 0 0,-9 6 0 0 0,-12 13 620 0 0,0 1 0 0 0,-42 51-1 0 0,64-69-477 0 0,-9 11 537 0 0,-24 37 0 0 0,34-46-644 0 0,0 0 1 0 0,1 1 0 0 0,1 0 0 0 0,0 0 0 0 0,0 0-1 0 0,-3 13 1 0 0,7-21-113 0 0,0-1 0 0 0,0 0 0 0 0,-1 0 0 0 0,1 0 0 0 0,0 0 0 0 0,0 0 0 0 0,0 1 0 0 0,0-1 0 0 0,1 0 0 0 0,-1 0 0 0 0,0 2 0 0 0,1 0 21 0 0,-1-2-26 0 0,0-1 0 0 0,0 1 0 0 0,0 0 0 0 0,0-1 0 0 0,1 1 0 0 0,-1-1 0 0 0,0 1 0 0 0,0 0 0 0 0,1-1 0 0 0,-1 1 0 0 0,0-1 0 0 0,0 1 0 0 0,1 0 0 0 0,-1-1 0 0 0,1 1 0 0 0,-1-1 0 0 0,0 1 0 0 0,1-1 0 0 0,-1 0 0 0 0,1 1 0 0 0,0 0 0 0 0,0 0 21 0 0,0-1-21 0 0,-1 1 0 0 0,1 0 0 0 0,-1-1 0 0 0,1 1 0 0 0,0-1 0 0 0,-1 1 0 0 0,1-1 0 0 0,-1 1 0 0 0,1-1 0 0 0,0 1 0 0 0,0-1 0 0 0,-1 1 0 0 0,1-1 0 0 0,0 0 0 0 0,0 0 0 0 0,0 1 0 0 0,2 0 14 0 0,-2-1-16 0 0,1 1 1 0 0,-1 0-1 0 0,0 0 1 0 0,1-1-1 0 0,-1 1 1 0 0,1-1-1 0 0,-1 1 1 0 0,1-1-1 0 0,0 0 1 0 0,-1 0-1 0 0,3 0 1 0 0,2 1 3 0 0,8 1-178 0 0,0-1 0 0 0,0 0 0 0 0,0-1 0 0 0,0 0 0 0 0,17-4 0 0 0,67-16-7852 0 0,-67 13 2796 0 0,-7 1 1447 0 0,-2 1 1564 0 0</inkml:trace>
</inkml:ink>
</file>

<file path=ppt/ink/ink1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5.31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7 59 8 0 0,'-4'-1'3598'0'0,"-20"-4"6483"0"0,23 3-9210 0 0,1 1-775 0 0,0 0 1 0 0,0 1 0 0 0,0-1-1 0 0,-1 0 1 0 0,1 0 0 0 0,0 0 0 0 0,-1 1-1 0 0,1-1 1 0 0,-1 0 0 0 0,1 0-1 0 0,-1 0 1 0 0,1 1-76 0 0,0 0-1 0 0,0 0 1 0 0,0-1 0 0 0,1 1-1 0 0,-1 0 1 0 0,0 0-1 0 0,0 0 1 0 0,0 0 0 0 0,0 0-1 0 0,1 0 1 0 0,-1-1-1 0 0,0 1 1 0 0,0 0 0 0 0,0 0-1 0 0,0 0 1 0 0,0 0 0 0 0,0 0-1 0 0,1-1 1 0 0,-1 1-1 0 0,0 0 1 0 0,0 0 0 0 0,0 0-1 0 0,0-1 1 0 0,0 1 0 0 0,0 0-1 0 0,0 0 1 0 0,0 0-1 0 0,0-1 1 0 0,0 1 0 0 0,0 0-1 0 0,0-1 10 0 0,0 1 0 0 0,0-1 0 0 0,0 1 0 0 0,0 0-1 0 0,0-1 1 0 0,0 1 0 0 0,1-1 0 0 0,-1 1 0 0 0,0 0-1 0 0,0-1 1 0 0,0 1 0 0 0,1-1 0 0 0,-1 1 0 0 0,0 0 0 0 0,0-1-1 0 0,1 1 1 0 0,-1 0 0 0 0,0-1 0 0 0,0 1 0 0 0,1 0-1 0 0,-1 0 1 0 0,0-1 0 0 0,1 1 0 0 0,-1 0 0 0 0,1 0 0 0 0,0-1-1 0 0,5-2 119 0 0,0 0-1 0 0,0-1 0 0 0,0 2 0 0 0,1-1 1 0 0,-1 1-1 0 0,14-3 0 0 0,-15 4-114 0 0,13 0 94 0 0,-14 0-110 0 0,-2 1-11 0 0,0 0 0 0 0,0 0 0 0 0,0 0 0 0 0,0 0-1 0 0,0 0 1 0 0,0 0 0 0 0,3 2 0 0 0,0-2-4 0 0,-4 0-1 0 0,1 0 0 0 0,-1 0-1 0 0,1 0 1 0 0,0 0 0 0 0,-1 1-1 0 0,1-1 1 0 0,-1 1 0 0 0,1-1-1 0 0,-1 1 1 0 0,3 1 0 0 0,18 8 13 0 0,6 8 22 0 0,-25-16-30 0 0,0 1 1 0 0,0-1-1 0 0,0 1 1 0 0,-1 0 0 0 0,1-1-1 0 0,-1 1 1 0 0,0 0-1 0 0,4 6 1 0 0,-6-8-5 0 0,1-1 0 0 0,-1 1 1 0 0,0 0-1 0 0,0 0 0 0 0,0-1 0 0 0,1 1 1 0 0,-1 0-1 0 0,0 0 0 0 0,0-1 1 0 0,0 1-1 0 0,0 0 0 0 0,0 0 0 0 0,0 0 1 0 0,0-1-1 0 0,0 1 0 0 0,-1 0 0 0 0,1 0 1 0 0,-1 1-1 0 0,1 0 6 0 0,-1 1 1 0 0,1 0 1 0 0,-1 1 0 0 0,0-1-1 0 0,0 0 1 0 0,-1 0-1 0 0,1 0 1 0 0,-1 1 0 0 0,1-1-1 0 0,-5 5 1 0 0,4-6-9 0 0,-2 5 20 0 0,0-1 0 0 0,-1 0 0 0 0,0 0 0 0 0,-6 5-1 0 0,8-7-7 0 0,-4 3 67 0 0,-1 0-32 0 0,-1-1 100 0 0,-18 14 491 0 0,25-18-396 0 0,0-1-30 0 0,-8 6-43 0 0,8-6 427 0 0,4-2-566 0 0,2-1-22 0 0,1 0 0 0 0,-1 0 0 0 0,1 0 0 0 0,-1 1 0 0 0,1-1 0 0 0,0 1 0 0 0,-1 0 0 0 0,1 0 0 0 0,0 1 0 0 0,0 0 0 0 0,9 0 0 0 0,-12 0-6 0 0,-2 0-2 0 0,1 0-1 0 0,0 0 0 0 0,0 0 1 0 0,0 0-1 0 0,-1 0 1 0 0,1 1-1 0 0,0-1 0 0 0,0 0 1 0 0,0 0-1 0 0,-1 1 0 0 0,1-1 1 0 0,0 0-1 0 0,-1 1 0 0 0,1-1 1 0 0,0 1-1 0 0,-1-1 0 0 0,2 1 1 0 0,1 2-4 0 0,9 6-5 0 0,1 7 2 0 0,-12-14 7 0 0,1 1 0 0 0,-1 0 1 0 0,0-1-1 0 0,0 1 0 0 0,1 3 0 0 0,-1-1 1 0 0,0 0 1 0 0,-1 0 0 0 0,0 0-1 0 0,0 0 1 0 0,0 0-1 0 0,0-1 1 0 0,-1 1 0 0 0,0 0-1 0 0,0 0 1 0 0,-1 0-1 0 0,1 0 1 0 0,-1-1 0 0 0,0 1-1 0 0,0-1 1 0 0,-4 7-1 0 0,-1 0 27 0 0,0 1 0 0 0,-1-2 0 0 0,-1 1-1 0 0,-11 11 1 0 0,10-11 22 0 0,-8 3 6 0 0,-2 1 3 0 0,19-14-58 0 0,-5 2 17 0 0,0 1 1 0 0,0-1 0 0 0,0-1 0 0 0,-6 3-1 0 0,-7 1-10 0 0,15-6-7 0 0,-3-1-53 0 0,-2 1-46 0 0,7 0-72 0 0,0-1-114 0 0,-8-1-140 0 0,7 1-184 0 0,-9-3-3331 0 0</inkml:trace>
</inkml:ink>
</file>

<file path=ppt/ink/ink1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6.3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2 47 8 0 0,'-13'-10'3317'0'0,"11"7"-2713"0"0,1 1 0 0 0,0-1 0 0 0,0 1-1 0 0,0-1 1 0 0,0 1 0 0 0,-1-7 1285 0 0,3 6-1551 0 0,5-7 1575 0 0,-4 10-1756 0 0,9 0 593 0 0,-10 2-556 0 0,2 6 12 0 0,-2-5 220 0 0,1-1-194 0 0,3 7 18 0 0,-3-7 19 0 0,-1 1 13 0 0,7 6 12 0 0,-6-7 8 0 0,0 1-6 0 0,55 50 1584 0 0,-16-17-1186 0 0,-26-22-548 0 0,-1 1 0 0 0,0 1 0 0 0,-2 0 0 0 0,0 1 0 0 0,14 24 0 0 0,-20-27-55 0 0,0-1 0 0 0,-1 0 1 0 0,0 1-1 0 0,-1 0 0 0 0,-1 0 0 0 0,0 1 1 0 0,-1-1-1 0 0,1 25 0 0 0,-3-19 26 0 0,-1 1 0 0 0,0 0-1 0 0,-2-1 1 0 0,0 1 0 0 0,-10 29 0 0 0,-22 38 478 0 0,15-43-317 0 0,10-19-168 0 0,-76 171-73 0 0,85-194-352 0 0,0-1-170 0 0,0 3-567 0 0</inkml:trace>
</inkml:ink>
</file>

<file path=ppt/ink/ink1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7.61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 8 0 0,'11'0'31'0'0,"-5"0"502"0"0,-1 0-1 0 0,0 1 1 0 0,0 0 0 0 0,0 0 0 0 0,0 0 0 0 0,-1 1 0 0 0,7 2 0 0 0,11 4 1314 0 0,1-1-273 0 0,-7-2-423 0 0,1-1 0 0 0,-1 0 1 0 0,1-1-1 0 0,32 2 0 0 0,-40-6-814 0 0,-1 1-1 0 0,0-1 1 0 0,1 0-1 0 0,-1-1 1 0 0,0 1 0 0 0,10-5-1 0 0,-16 5-236 0 0,1-1-29 0 0,2 0-56 0 0,0-1 7 0 0,-1 0 0 0 0,1 1 1 0 0,0 0-1 0 0,0 0 0 0 0,6-1 0 0 0,-7 1-18 0 0,18-3-19 0 0,-10 3-654 0 0,0 0-1 0 0,0 1 1 0 0,0 1 0 0 0,20 2-1 0 0,-28-2-676 0 0,-1 1 0 0 0,1-1 1 0 0,-1 1-1 0 0,1 0 0 0 0,-1 1 0 0 0,4 0 0 0 0,-4 0 649 0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5.07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 0 8 0 0,'0'3'129'0'0,"-2"0"-44"0"0,2-2-52 0 0,0 0 0 0 0,-1 0 0 0 0,1 0 0 0 0,0 0 1 0 0,-1 0-1 0 0,1 0 0 0 0,0 0 0 0 0,0 0 1 0 0,0 0-1 0 0,0 0 0 0 0,0 0 0 0 0,0 0 1 0 0,0 1-1 0 0,2 20-169 0 0,0-1 0 0 0,2 1 1 0 0,0-1-1 0 0,11 31 0 0 0,12 16 136 0 0,-20-54 0 0 0,3 2 0 0 0</inkml:trace>
</inkml:ink>
</file>

<file path=ppt/ink/ink1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7.99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 8 0 0,'3'2'11564'0'0,"5"6"-10759"0"0,-6-6-102 0 0,0 1-101 0 0,26 34 1631 0 0,-26-35-1921 0 0,1 0-49 0 0,0 0-228 0 0,-1 0 31 0 0,1 0-1 0 0,0 0 1 0 0,0 0 0 0 0,0 0 0 0 0,0-1-1 0 0,0 1 1 0 0,0-1 0 0 0,0 0 0 0 0,5 1-1 0 0,-5 0-26 0 0,-2-2-24 0 0,0 1-1 0 0,1-1 0 0 0,-1 0 0 0 0,0 1 0 0 0,0-1 1 0 0,1 0-1 0 0,-1 0 0 0 0,0 0 0 0 0,1 0 0 0 0,-1 0 1 0 0,2 0-1 0 0,1 0 11 0 0,14-2 72 0 0,52-20-1797 0 0,-48 15-2012 0 0,0 0-3380 0 0,-8 3 2090 0 0</inkml:trace>
</inkml:ink>
</file>

<file path=ppt/ink/ink1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2.08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9 4 8 0 0,'-14'-3'151'0'0,"12"3"167"0"0,-1-1 0 0 0,0 1 1 0 0,1 0-1 0 0,-1 0 0 0 0,1 0 1 0 0,-1 1-1 0 0,1-1 0 0 0,-1 1 0 0 0,-2 0 1 0 0,1 0 214 0 0,-2 0 24 0 0,0 1-1 0 0,0 0 1 0 0,1 0-1 0 0,-9 4 1 0 0,13-5-512 0 0,-33 20 1391 0 0,28-17-1304 0 0,-2 1 297 0 0,0 0 1 0 0,-12 11-1 0 0,15-11-319 0 0,0 0 157 0 0,-1 0 1 0 0,1 0 0 0 0,-9 11 0 0 0,11-13-228 0 0,-4 6 170 0 0,1 0-126 0 0,3-3 10 0 0,-1 4-39 0 0,0 1 0 0 0,0-1 1 0 0,1 1-1 0 0,0 0 0 0 0,1 0 1 0 0,-1 18-1 0 0,2 72 564 0 0,1-52-190 0 0,6 103 458 0 0,-2-29-355 0 0,-2-61 118 0 0,3 0 1 0 0,18 85-1 0 0,-14-107-413 0 0,2-1 0 0 0,1 0 0 0 0,2-1 0 0 0,32 61 0 0 0,-12-42-506 0 0,42 52 0 0 0,-68-97-499 0 0,-7-10 619 0 0,0-1-1 0 0,0 0 1 0 0,0 0-1 0 0,0 0 1 0 0,0 0-1 0 0,0 0 1 0 0,0 0 0 0 0,0 0-1 0 0,3 1 1 0 0,25 18-6217 0 0,-5-13-1618 0 0</inkml:trace>
</inkml:ink>
</file>

<file path=ppt/ink/ink1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2.64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6 445 8 0 0,'-19'18'2759'0'0,"6"-6"-22"0"0,11-9-1681 0 0,-20 21 6439 0 0,23-27-7176 0 0,3-9 50 0 0,1 0 1 0 0,1 1-1 0 0,10-18 1 0 0,27-36-169 0 0,-29 44-117 0 0,189-246 54 0 0,-182 243-158 0 0,27-26 0 0 0,-46 48 4 0 0,0 1-41 0 0,-1 1 47 0 0,0 0 0 0 0,0-1 1 0 0,0 1-1 0 0,0 0 0 0 0,0 0 0 0 0,0-1 0 0 0,0 1 1 0 0,0-1-1 0 0,-1 1 0 0 0,3-2 0 0 0,-3 3 9 0 0,-1-1 0 0 0,1 0 0 0 0,0 1 0 0 0,0-1 0 0 0,0 0 1 0 0,0 1-1 0 0,-1-1 0 0 0,1 0 0 0 0,0 1 0 0 0,0-1 0 0 0,0 1 0 0 0,0-1 0 0 0,0 0 0 0 0,0 1 0 0 0,0-1 0 0 0,0 0 0 0 0,0 1 1 0 0,0-1-1 0 0,0 1 0 0 0,0-1 0 0 0,1 1 0 0 0,-1 0 2 0 0,0 0-1 0 0,1 0 1 0 0,-1 0 0 0 0,0 0 0 0 0,0 0 0 0 0,0 0-1 0 0,0 0 1 0 0,0-1 0 0 0,0 1 0 0 0,0 0-1 0 0,0 0 1 0 0,0 0 0 0 0,-1 2 0 0 0,-3 14 26 0 0,-72 258 363 0 0,-1-70-76 0 0,65-165-321 0 0,11-37-97 0 0</inkml:trace>
</inkml:ink>
</file>

<file path=ppt/ink/ink1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3.08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1 34 8 0 0,'-61'14'6357'0'0,"10"-2"-1033"0"0,48-12-4600 0 0,1 1-89 0 0,-11 2 2531 0 0,15-3-3071 0 0,17 1 163 0 0,49-3 300 0 0,-43 0-391 0 0,7-1 54 0 0,0-1 0 0 0,36-9 1 0 0,-30 2 19 0 0,-9-2-123 0 0,-27 12-85 0 0,1-1-2 0 0,21-10 9 0 0,-22 11-47 0 0</inkml:trace>
</inkml:ink>
</file>

<file path=ppt/ink/ink1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3.41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7 0 8 0 0,'-3'1'1408'0'0,"-26"12"2392"0"0,26-11-3410 0 0,1 0 1 0 0,-1 0-1 0 0,1 0 1 0 0,-1 0 0 0 0,1 0-1 0 0,0 1 1 0 0,0-1-1 0 0,-3 6 1 0 0,3-6-312 0 0,-4 8 269 0 0,0 1 1 0 0,0 0 0 0 0,1 0-1 0 0,-6 18 1 0 0,2 4-28 0 0,1 0 0 0 0,1 0 1 0 0,-2 35-1 0 0,-1 104 923 0 0,9-132-1026 0 0,-9 194 1425 0 0,10-224-1482 0 0,0 1-1 0 0,0-1 1 0 0,1 0-1 0 0,2 10 1 0 0,-3-18-258 0 0,13-32-10318 0 0,-11 23 7256 0 0,4-15 1092 0 0</inkml:trace>
</inkml:ink>
</file>

<file path=ppt/ink/ink1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3.75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9 101 8 0 0,'-9'2'1520'0'0,"0"0"1"0"0,0 0-1 0 0,-16 8 0 0 0,23-9-600 0 0,1-1-811 0 0,0 0 0 0 0,0 0 0 0 0,1 0-1 0 0,-1 1 1 0 0,0-1 0 0 0,0 0-1 0 0,0 0 1 0 0,1 1 0 0 0,-1-1-1 0 0,0 1 1 0 0,0-1 0 0 0,-3 3 1576 0 0,6-3-1508 0 0,2 0-92 0 0,0 0 1 0 0,0 0 0 0 0,0-1 0 0 0,0 1 0 0 0,0-1 0 0 0,5-1 0 0 0,158-49 886 0 0,-26 6-496 0 0,-65 28-563 0 0,-46 12-2869 0 0,-21 4-479 0 0,-8 1 3239 0 0,0 0 0 0 0,-1 0 0 0 0,1 0 1 0 0,0 0-1 0 0,0 0 0 0 0,0 0 0 0 0,0 0 0 0 0,0 1 1 0 0,0-1-1 0 0,-1 0 0 0 0,2 1 0 0 0,16 6-3193 0 0</inkml:trace>
</inkml:ink>
</file>

<file path=ppt/ink/ink1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4.08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8 34 8 0 0,'-36'14'6076'0'0,"23"-14"-2370"0"0,14-2-3303 0 0,1-6-51 0 0,-2 6-19 0 0,0 2-307 0 0,1 0-1 0 0,-1 0 0 0 0,1 0 0 0 0,-1-1 0 0 0,1 1 0 0 0,-1 0 1 0 0,1 0-1 0 0,-1 0 0 0 0,0 0 0 0 0,1 0 0 0 0,-1-1 0 0 0,1 1 1 0 0,-1 0-1 0 0,0 0 0 0 0,1-1 0 0 0,-1 1 0 0 0,0 0 0 0 0,1-1 1 0 0,7-5 420 0 0,3 1-157 0 0,0 1 1 0 0,0 0 0 0 0,0 0 0 0 0,0 1 0 0 0,19-2 0 0 0,-28 5-245 0 0,0 0-8 0 0,11 1 46 0 0,-12 2-51 0 0,1-2-23 0 0,-2-1-6 0 0,1 1 0 0 0,-1-1 0 0 0,1 1 0 0 0,-1-1 0 0 0,0 1 0 0 0,1-1 0 0 0,-1 1 0 0 0,0-1 0 0 0,1 1 0 0 0,-1 0 0 0 0,0-1-1 0 0,1 1 1 0 0,-1 0 0 0 0,0-1 0 0 0,0 1 0 0 0,0 0 0 0 0,0-1 0 0 0,0 1 0 0 0,0 1 0 0 0,0 10-20 0 0,-2 0 0 0 0,0 0 0 0 0,0-1 0 0 0,-1 1 0 0 0,-8 22 0 0 0,-31 55-61 0 0,31-68 514 0 0,-1 0 1 0 0,-28 35 0 0 0,37-52-257 0 0,-10 12 777 0 0,-5 11 445 0 0,16-25-1097 0 0,2-1-285 0 0,0-1 1 0 0,0 1-1 0 0,0-1 1 0 0,0 1-1 0 0,0-1 0 0 0,0 1 1 0 0,0-1-1 0 0,0 1 0 0 0,-1-1 1 0 0,1 1-1 0 0,0-1 0 0 0,0 1 1 0 0,-1-1-1 0 0,1 1 0 0 0,0-1 1 0 0,-1 1-1 0 0,-3 7 520 0 0,6-6-438 0 0,-1 0-72 0 0,5 6 114 0 0,-3-7-86 0 0,1 0-43 0 0,11 0 29 0 0,26-2-29 0 0,-26 0-25 0 0,12-1-660 0 0,34 4 0 0 0,-45 0-2461 0 0,27 6 1 0 0,-10 0-4128 0 0,-16-4 3060 0 0</inkml:trace>
</inkml:ink>
</file>

<file path=ppt/ink/ink1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4.52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 0 8 0 0,'-27'6'6381'0'0,"25"-4"-5708"0"0,-6 5-163 0 0,6-5 184 0 0,2 0-436 0 0,3 6-35 0 0,-2-5-35 0 0,0-1-17 0 0,7 13 388 0 0,12 15-1 0 0,-2-4 7 0 0,88 145 2565 0 0,-84-134-2851 0 0,-1 1 0 0 0,-1 1 0 0 0,-3 0 0 0 0,-1 1 0 0 0,-2 1 0 0 0,-1 1 1 0 0,-3-1-1 0 0,-1 2 0 0 0,4 61 0 0 0,-10-48-201 0 0,-3 1-1 0 0,-2-1 1 0 0,-2 0 0 0 0,-3 0 0 0 0,-22 86 0 0 0,21-115 168 0 0,-2 0 0 0 0,0-1-1 0 0,-2 0 1 0 0,-22 37 0 0 0,27-52-33 0 0,6-10-193 0 0,0 1 1 0 0,0-1-1 0 0,0 1 0 0 0,0-1 1 0 0,0 0-1 0 0,0 0 0 0 0,0 1 1 0 0,0-1-1 0 0,-2 1 0 0 0,-1 0 50 0 0,1 1-1 0 0,0-1 0 0 0,0 0 1 0 0,-5 2-1 0 0,6-4 10 0 0,-1 0-34 0 0,-7-4-49 0 0,7 3-76 0 0,1-1-116 0 0,-7-7-148 0 0,6 7-193 0 0,1 0-250 0 0,-6-9-322 0 0</inkml:trace>
</inkml:ink>
</file>

<file path=ppt/ink/ink1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5.34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1 42 8 0 0,'-13'0'0'0'0,"-3"3"0"0"0,3 4 0 0 0,4 3 112 0 0,7-8 472 0 0,0 4 586 0 0,2-5-1029 0 0,0-1 1 0 0,-1 1-1 0 0,1-1 0 0 0,0 1 1 0 0,0-1-1 0 0,-1 1 0 0 0,1 0 1 0 0,0-1-1 0 0,0 1 0 0 0,0-1 1 0 0,0 1-1 0 0,0-1 0 0 0,0 1 1 0 0,0 0-1 0 0,0-1 1 0 0,0 2-1 0 0,2 25 3120 0 0,-1-24-2664 0 0,0-1-67 0 0,-1 0-339 0 0,4 7 1243 0 0,-2-10-1126 0 0,7-1-34 0 0,-7 2 107 0 0,0-3-254 0 0,7-8-34 0 0,-6 8-13 0 0,1-6 23 0 0,2-2-32 0 0,1-17-120 0 0,-5 17-65 0 0,-1-2-49 0 0,-3-14-188 0 0,2 25 286 0 0,-3 1-222 0 0,-7 0 178 0 0,7 0 13 0 0,1 4-28 0 0,-1 0 120 0 0,2-3 6 0 0,0 1 1 0 0,0 0 0 0 0,0 0-1 0 0,0 0 1 0 0,0-1 0 0 0,1 1-1 0 0,-1 0 1 0 0,0 0 0 0 0,1 0 0 0 0,-1 1-1 0 0,1-1 1 0 0,-1 0 0 0 0,0 2-1 0 0,-11 28 369 0 0,8-19-139 0 0,0 3-36 0 0,4-13-149 0 0,-2 2-2 0 0,2-2-25 0 0,-1-1 0 0 0,1 1 0 0 0,-1-1 0 0 0,1 1 0 0 0,0 0 0 0 0,0-1 0 0 0,0 1 0 0 0,0 2 0 0 0,0 3-53 0 0,1 0 0 0 0,0-1 0 0 0,0 1 0 0 0,1-1 0 0 0,2 7-1 0 0,-3-11-574 0 0,-1-2 520 0 0,1 0-1 0 0,-1 0 0 0 0,0 0 0 0 0,1 0 1 0 0,-1 0-1 0 0,1 0 0 0 0,-1 0 0 0 0,0 0 1 0 0,1 1-1 0 0,-1-1 0 0 0,0 0 0 0 0,1 0 1 0 0,-1 0-1 0 0,0 0 0 0 0,1 1 1 0 0,-1-1-1 0 0,0 0 0 0 0,1 0 0 0 0,-1 1 1 0 0,0-1-1 0 0,1 0 0 0 0,-1 1 0 0 0,5 3-1102 0 0,13-5-5439 0 0,-16 1 5834 0 0</inkml:trace>
</inkml:ink>
</file>

<file path=ppt/ink/ink1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5.80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4 1 8 0 0,'-15'0'0'0'0,"-5"4"20"0"0,14-3 64 0 0,4 0 82 0 0,-1 0 0 0 0,1 0 0 0 0,0 0 0 0 0,0 0 0 0 0,-1 0 0 0 0,-2 2 0 0 0,-26 17 2926 0 0,22-14-2271 0 0,1 1 0 0 0,-11 9 0 0 0,15-12-683 0 0,-17 15 1114 0 0,2 1 0 0 0,-22 28 0 0 0,16-17 306 0 0,10-12-499 0 0,0 1 0 0 0,1 1 0 0 0,-17 36 0 0 0,-22 72 536 0 0,43-98-1572 0 0,2 0-1 0 0,1 0 1 0 0,2 1-1 0 0,1 0 1 0 0,1 0 0 0 0,2 1-1 0 0,1-1 1 0 0,6 45 0 0 0,0-35-128 0 0,1-1 1 0 0,3 0-1 0 0,2-1 0 0 0,1 0 1 0 0,2-1-1 0 0,20 37 1 0 0,-25-56-66 0 0,1 0 0 0 0,1-1 0 0 0,1 0 0 0 0,28 31 0 0 0,-34-43 103 0 0,0 0-1 0 0,1 0 1 0 0,0-1 0 0 0,0 0-1 0 0,1 0 1 0 0,-1-1 0 0 0,1 0-1 0 0,0-1 1 0 0,0 0 0 0 0,1 0-1 0 0,-1-1 1 0 0,1 0 0 0 0,12 2-1 0 0,-11-4-410 0 0,-1 0 0 0 0,0-1 0 0 0,1 0 0 0 0,-1-1 0 0 0,12-1-1 0 0,-12 0-2876 0 0,-2 0 0 0 0,19-7 0 0 0,-20 5 949 0 0,12-9 1963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5.66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66 2385 0 0,'0'-3'2260'0'0,"1"2"-2053"0"0,-1 0 0 0 0,0-1 0 0 0,1 1 0 0 0,-1 0 0 0 0,1-1 0 0 0,-1 1 0 0 0,1 0 0 0 0,0 0 0 0 0,-1-1 0 0 0,1 1 0 0 0,0 0 0 0 0,0 0 0 0 0,0 0-1 0 0,1-1 1 0 0,1-1 116 0 0,0 1 0 0 0,1-1 0 0 0,-1 1-1 0 0,7-3 1 0 0,3-1 61 0 0,-1 1 0 0 0,17-3 1 0 0,-18 5-509 0 0,0 1 1 0 0,1 0-1 0 0,18 0 1 0 0,34 4-5927 0 0,-45-1 2942 0 0,-7-1 2361 0 0,1 0 638 0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6.02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9 716 8 0 0,'0'-14'6151'0'0,"-3"14"-5498"0"0,-8 3-174 0 0,7 0-134 0 0,-3 8-184 0 0,1 0 0 0 0,0 0-1 0 0,1 1 1 0 0,0 0 0 0 0,1 0-1 0 0,1 0 1 0 0,-5 25 0 0 0,5-15 196 0 0,1 1 0 0 0,1-1 0 0 0,3 41 0 0 0,-1-54-200 0 0,0 1-1 0 0,1-1 1 0 0,0 1-1 0 0,0-1 1 0 0,8 17-1 0 0,-10-25-100 0 0,1 0 0 0 0,-1 0 0 0 0,1 0 0 0 0,0 0 0 0 0,0 0 1 0 0,-1 0-1 0 0,1 0 0 0 0,0 0 0 0 0,0 0 0 0 0,0 0 0 0 0,2 1 0 0 0,0 1 99 0 0,-3-3-136 0 0,0 0-1 0 0,0 0 1 0 0,0 0-1 0 0,0 1 1 0 0,0-1-1 0 0,0 0 1 0 0,1 0-1 0 0,-1 0 1 0 0,0 0-1 0 0,0 0 1 0 0,0 1-1 0 0,0-1 1 0 0,1 0-1 0 0,-1 0 1 0 0,0 0-1 0 0,0 0 1 0 0,0 0-1 0 0,0 0 1 0 0,1 0-1 0 0,-1 0 1 0 0,0 0-1 0 0,0 0 1 0 0,0 0-1 0 0,1 0 1 0 0,-1 0-1 0 0,0 0 1 0 0,0 0-1 0 0,0 0 1 0 0,1 0-1 0 0,10-1 576 0 0,-5-1-9 0 0,0-4-372 0 0,-1 0 1 0 0,0 0-1 0 0,0 0 0 0 0,0 0 0 0 0,-1-1 1 0 0,0 1-1 0 0,6-13 0 0 0,19-57 339 0 0,-18 44-455 0 0,9-21-31 0 0,83-216-404 0 0,-70 194-109 0 0,64-107-1 0 0,-68 136 240 0 0,6-9-65 0 0,51-108-1 0 0,-84 159 276 0 0,-1 1 12 0 0,1 0 0 0 0,-1 0 0 0 0,0 0 0 0 0,0 0 0 0 0,-1 0 0 0 0,2-6 0 0 0,-4 12 26 0 0,-24 42 188 0 0,3 1 1 0 0,1 1-1 0 0,-25 79 0 0 0,-15 101 956 0 0,51-176-676 0 0,3 1 0 0 0,-3 77 0 0 0,10-118-446 0 0,1-1 0 0 0,1 1 0 0 0,0-1 0 0 0,0 1 0 0 0,1-1 0 0 0,6 19 0 0 0,-3-23 23 0 0,-3-3-69 0 0,0-1 1 0 0,1 0-1 0 0,-1 0 0 0 0,1 0 0 0 0,-1-1 1 0 0,1 1-1 0 0,0-1 0 0 0,0 1 1 0 0,0-1-1 0 0,0 0 0 0 0,0 0 0 0 0,0 0 1 0 0,0 0-1 0 0,0-1 0 0 0,0 1 1 0 0,0-1-1 0 0,1 0 0 0 0,3 0 0 0 0,-2-1 2 0 0,0 0 1 0 0,1 0-1 0 0,-1 0 0 0 0,0-1 0 0 0,0 0 0 0 0,0 0 0 0 0,0-1 0 0 0,5-3 0 0 0,37-27 41 0 0,-6 2-54 0 0,-34 27-10 0 0,-1 1-1 0 0,0 0 1 0 0,1 0 0 0 0,-1 0-1 0 0,12-3 1 0 0,-15 6 0 0 0,0-1 1 0 0,0 1-1 0 0,0 0 1 0 0,0-1-1 0 0,0 2 1 0 0,0-1-1 0 0,0 0 1 0 0,0 0-1 0 0,0 1 1 0 0,0 0-1 0 0,0-1 1 0 0,0 1-1 0 0,0 0 1 0 0,5 3-1 0 0,-2 1 10 0 0,1 4 3 0 0,0 0 0 0 0,0 1 0 0 0,-1-1 0 0 0,0 2-1 0 0,0-1 1 0 0,4 12 0 0 0,29 124-690 0 0,-30-102 225 0 0,3-2 0 0 0,18 48-1 0 0,-28-85-374 0 0,1 0 0 0 0,-1-1 0 0 0,1 1 0 0 0,0-1-1 0 0,0 0 1 0 0,0 0 0 0 0,6 6 0 0 0,3-11-4212 0 0,5-24-253 0 0</inkml:trace>
</inkml:ink>
</file>

<file path=ppt/ink/ink2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6.19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5 451 8 0 0,'-9'3'1851'0'0,"1"0"1"0"0,0 1-1 0 0,-12 7 2992 0 0,20-12-4840 0 0,1-1-1 0 0,-1 1 1 0 0,0 0-1 0 0,0 0 1 0 0,0 0 0 0 0,1 0-1 0 0,-1-1 1 0 0,1 1 0 0 0,-1 0-1 0 0,2-1 1 0 0,-1-2 0 0 0,3-3 9 0 0,42-62 11 0 0,14-21-45 0 0,-28 47-23 0 0,94-141 66 0 0,-99 138 78 0 0,-25 43-59 0 0,1-8 273 0 0,-6 14-283 0 0,2-2-10 0 0,-1 0-1 0 0,1 0 0 0 0,0 0 0 0 0,0 1 1 0 0,0-1-1 0 0,0 0 0 0 0,0 1 1 0 0,0-1-1 0 0,-1 2 0 0 0,-18 36 379 0 0,-23 62 0 0 0,18-41-291 0 0,11-25-48 0 0,2 1 1 0 0,1 0 0 0 0,-7 44-1 0 0,9-20-45 0 0,-2 75-1 0 0,12-124-756 0 0,0 1-1 0 0,0 0 1 0 0,4 15-1 0 0,22-20-8543 0 0</inkml:trace>
</inkml:ink>
</file>

<file path=ppt/ink/ink2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6.69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1 3 8 0 0,'-20'4'0'0'0,"-13"6"3209"0"0,31-9-2202 0 0,-11 2 2008 0 0,11-2-2684 0 0,-9 4 1606 0 0,14-4-1622 0 0,6 3-23 0 0,-7-3-1 0 0,1-1 12 0 0,29 2 1797 0 0,34-3 1 0 0,-39-1-1193 0 0,28-4-107 0 0,-53 6-762 0 0,0 0-12 0 0,6 0-5 0 0,-6 0 32 0 0,-4-1-761 0 0,-1 0 631 0 0,-1 0 0 0 0,1 1 0 0 0,-1-1-1 0 0,1 1 1 0 0,0 0 0 0 0,-8 0 0 0 0,-17 0-14 0 0,-10-3 145 0 0,11-2 97 0 0,-32-8 165 0 0,57 13-336 0 0,4 1-382 0 0,62 31-3034 0 0,-44-23 854 0 0,19 6-6160 0 0,-24-11 7972 0 0</inkml:trace>
</inkml:ink>
</file>

<file path=ppt/ink/ink2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39.66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4 0 8 0 0,'-4'10'0'0'0,"1"-2"0"0"0,0 1 0 0 0,-3 14 0 0 0,0 9 462 0 0,1 0 1 0 0,-2 41-1 0 0,6 67 1682 0 0,1-85-1755 0 0,2 26 893 0 0,-1 36 1148 0 0,-2-93-539 0 0,-4 29 0 0 0,4-50-1735 0 0,1-2-140 0 0,0 0-1 0 0,0-1 0 0 0,0 1 0 0 0,0 0 0 0 0,-1 0 0 0 0,1 0 1 0 0,0-1-1 0 0,0 1 0 0 0,-1 0 0 0 0,1 0 0 0 0,-1-1 0 0 0,0 2 0 0 0,0 0 21 0 0,0 0 365 0 0,-7 2-793 0 0,6-3 295 0 0,0 0-388 0 0,-5-13-3986 0 0</inkml:trace>
</inkml:ink>
</file>

<file path=ppt/ink/ink2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0.02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37 8 0 0,'18'0'0'0'0,"-6"0"1240"0"0,0 0 0 0 0,0-1 0 0 0,0 0 0 0 0,16-4-1 0 0,-26 5-1169 0 0,113-19 5122 0 0,59 9-3285 0 0,-167 10-2069 0 0,0 0 0 0 0,1 0 0 0 0,-1 1 0 0 0,0 0 0 0 0,0 1 0 0 0,0 0 0 0 0,0 0 0 0 0,0 0 0 0 0,8 4 0 0 0</inkml:trace>
</inkml:ink>
</file>

<file path=ppt/ink/ink2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0.61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9 0 8 0 0,'-12'8'0'0'0,"-1"1"1180"0"0,6 1-849 0 0,6-7 108 0 0,1-1-227 0 0,-6 39 4970 0 0,7-39-4992 0 0,1 21 368 0 0,-2-21-520 0 0,-1 7-74 0 0,0 0 0 0 0,0 1 0 0 0,2 9 0 0 0,-1-12-162 0 0,-1 0-585 0 0,1 0-1 0 0,1-1 1 0 0,-1 1-1 0 0,1 0 1 0 0,4 12-1 0 0,-2-5-564 0 0,7 42-391 0 0,-7-42 1739 0 0</inkml:trace>
</inkml:ink>
</file>

<file path=ppt/ink/ink2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1.44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 15 8 0 0,'7'-14'8126'0'0,"-5"16"-7882"0"0,5 6 3 0 0,-5-6 291 0 0,0 0-271 0 0,3 8-22 0 0,-3-8-31 0 0,-1 0-14 0 0,5 8-3 0 0,-5-8 15 0 0,0 1 4 0 0,26 41 1013 0 0,-10-19-707 0 0,8 17 10 0 0,1 7-67 0 0,-2 1-1 0 0,-2 1 1 0 0,-3 0-1 0 0,14 58 0 0 0,-23-71-365 0 0,-3 1 0 0 0,-1 1 0 0 0,-1-1 0 0 0,-3 1 0 0 0,-1 0 0 0 0,-8 77-1 0 0,2-86 79 0 0,-2 0-1 0 0,0-1 1 0 0,-3 0-1 0 0,0 0 1 0 0,-1-1-1 0 0,-2-1 1 0 0,-1 0-1 0 0,-26 37 1 0 0,29-49-112 0 0,0 0 0 0 0,-2-2 0 0 0,0 1 0 0 0,-16 13 0 0 0,20-20 23 0 0,9-7-81 0 0,-1 0 0 0 0,0-1 0 0 0,0 1 0 0 0,0 0 0 0 0,0-1 0 0 0,0 1 1 0 0,0-1-1 0 0,0 1 0 0 0,0-1 0 0 0,0 1 0 0 0,-1-1 0 0 0,-1 1 20 0 0,1 0-2 0 0,-1 0 0 0 0,0 0 0 0 0,0-1 0 0 0,0 1 0 0 0,0-1 0 0 0,0 0 0 0 0,0 0 0 0 0,0 0 0 0 0,0 0 0 0 0,-4-1 0 0 0,5 0-1 0 0,0-1-37 0 0,-6-9-15 0 0,6 9-28 0 0,1-9-179 0 0,1 9-3 0 0,0 0-126 0 0</inkml:trace>
</inkml:ink>
</file>

<file path=ppt/ink/ink2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2.03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4 10 8 0 0,'0'0'315'0'0,"-1"2"252"0"0,-9 23 4139 0 0,21-29-4370 0 0,-9 4-132 0 0,-2-1-188 0 0,1 0 0 0 0,-1 0 0 0 0,0 0 0 0 0,1 0 0 0 0,-1 1 0 0 0,1-1 0 0 0,0 0 0 0 0,-1 0 1 0 0,1 1-1 0 0,0-1 0 0 0,1-1 0 0 0,-2 2 4 0 0,2-2 539 0 0,-2 0-329 0 0,4-10 804 0 0,-6 11-938 0 0,-7-2 6 0 0,7 2 6 0 0,-1 2 21 0 0,-58 21 2349 0 0,59-22-2097 0 0,1 0-175 0 0,0 1 0 0 0,0-1 0 0 0,0 0 0 0 0,1 1-1 0 0,-1-1 1 0 0,0 1 0 0 0,1-1 0 0 0,-1 0 0 0 0,0 1-1 0 0,1 0 1 0 0,-1-1 0 0 0,-1 2 0 0 0,12 3-233 0 0,-8-4-106 0 0,0-1-219 0 0,8 1-329 0 0,3 0-4838 0 0,8 4-1903 0 0</inkml:trace>
</inkml:ink>
</file>

<file path=ppt/ink/ink2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2.48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64 27 8 0 0,'-3'-3'3821'0'0,"-12"-11"1536"0"0,12 12-4682 0 0,0 1 0 0 0,0 0 0 0 0,0-1-1 0 0,-1 1 1 0 0,1 1 0 0 0,0-1 0 0 0,-5 0 0 0 0,4 0-374 0 0,0 1 0 0 0,1 1 0 0 0,-1-1-1 0 0,0 0 1 0 0,0 1 0 0 0,1 0 0 0 0,-1 0 0 0 0,1 0 0 0 0,-1 0-1 0 0,1 0 1 0 0,-1 1 0 0 0,-5 3 0 0 0,-75 49 1789 0 0,81-51-2066 0 0,-1-1 1 0 0,1 1-1 0 0,0 0 1 0 0,1 0-1 0 0,-1 1 1 0 0,-4 6-1 0 0,5-7-19 0 0,-6 7 6 0 0,3 0-10 0 0,-3 8 11 0 0,2-2 13 0 0,0-1 0 0 0,2 1 0 0 0,-4 19 0 0 0,5-20 94 0 0,1 1 1 0 0,1-1 0 0 0,0 1-1 0 0,1 0 1 0 0,1 0 0 0 0,4 23-1 0 0,0-12-59 0 0,3 0 0 0 0,10 28 0 0 0,26 51-207 0 0,-25-63-215 0 0,-16-36 181 0 0,25 54-1603 0 0,-8-25-2231 0 0,-20-36 3822 0 0,0 1 0 0 0,1-1-1 0 0,-1 1 1 0 0,0 0 0 0 0,1-1 0 0 0,-1 1 0 0 0,1-1-1 0 0,-1 1 1 0 0,1-1 0 0 0,-1 1 0 0 0,1-1-1 0 0,0 1 1 0 0,-1-1 0 0 0,1 1 0 0 0,0-1 0 0 0,-1 0-1 0 0,1 1 1 0 0,0-1 0 0 0,0 0 0 0 0,1 1-651 0 0,13 0-5129 0 0,7-15 1248 0 0</inkml:trace>
</inkml:ink>
</file>

<file path=ppt/ink/ink2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2.90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0 26 8 0 0,'-2'1'1555'0'0,"-20"5"2758"0"0,20-6-3356 0 0,-1 1-154 0 0,-9 3-168 0 0,9-3-153 0 0,-12 5 146 0 0,12-5-446 0 0,0 0-47 0 0,-2 2-19 0 0,-1 1-1 0 0,1-1 1 0 0,0 1 0 0 0,0 0-1 0 0,1 0 1 0 0,-7 7 0 0 0,-5 18 540 0 0,12-16-201 0 0,-1 0 0 0 0,2 0 1 0 0,0 0-1 0 0,-2 17 0 0 0,5-24-246 0 0,0-1-1 0 0,0 0 1 0 0,0 1-1 0 0,0-1 1 0 0,1 0-1 0 0,0 0 1 0 0,0 1-1 0 0,1-1 1 0 0,-1 0-1 0 0,1 0 1 0 0,4 6-1 0 0,-5-7-113 0 0,0-2-51 0 0,0 0 0 0 0,-1-1 0 0 0,1 1 1 0 0,0-1-1 0 0,0 1 0 0 0,0-1 1 0 0,0 0-1 0 0,0 1 0 0 0,2 1 1 0 0,-1 0 31 0 0,-2-2-46 0 0,1 0-1 0 0,0 1 1 0 0,-1-1-1 0 0,1 0 1 0 0,0 0-1 0 0,0 0 1 0 0,0 0-1 0 0,0 0 1 0 0,0-1-1 0 0,0 1 1 0 0,0 0-1 0 0,3 1 1 0 0,-1 1 43 0 0,-2-2-31 0 0,1 0 0 0 0,-1 0 0 0 0,1 0-1 0 0,-1 0 1 0 0,1 0 0 0 0,0 0 0 0 0,-1-1-1 0 0,3 2 1 0 0,-1 0 30 0 0,-2-2-46 0 0,0 1 1 0 0,0 0-1 0 0,0-1 0 0 0,1 1 0 0 0,-1-1 0 0 0,0 0 0 0 0,0 1 0 0 0,0-1 0 0 0,0 0 0 0 0,1 1 0 0 0,-1-1 0 0 0,0 0 0 0 0,2 0 0 0 0,1 1 39 0 0,-2-1-37 0 0,-1 0-1 0 0,1 0 0 0 0,-1 1 1 0 0,1-1-1 0 0,-1 0 0 0 0,1 0 1 0 0,-1 0-1 0 0,0-1 0 0 0,1 1 1 0 0,2-1-1 0 0,-1 1-11 0 0,2-1 56 0 0,-1 0 0 0 0,1 0 0 0 0,-1 0-1 0 0,1 0 1 0 0,-1-1 0 0 0,0 1 0 0 0,0-1-1 0 0,1 0 1 0 0,-1 0 0 0 0,-1-1 0 0 0,6-3-1 0 0,12-14 236 0 0,-10 8-215 0 0,-1 0 1 0 0,0 0-1 0 0,8-15 1 0 0,-6 6 61 0 0,17-41 0 0 0,-26 55-123 0 0,0-1 1 0 0,-1-1-1 0 0,0 1 0 0 0,0 0 1 0 0,-1 0-1 0 0,0-1 1 0 0,0 1-1 0 0,-1-14 0 0 0,0 20-27 0 0,0 1 0 0 0,-1-1 0 0 0,1 1 0 0 0,0-1 0 0 0,-1 1 0 0 0,1-1 0 0 0,-1 1-1 0 0,0-3 1 0 0,-1 0 0 0 0,2 4-5 0 0,0 0 1 0 0,0-1-1 0 0,0 1 1 0 0,-1 0-1 0 0,1-1 0 0 0,0 1 1 0 0,0 0-1 0 0,0 0 1 0 0,0-1-1 0 0,-1 1 0 0 0,1 0 1 0 0,0-1-1 0 0,0 1 1 0 0,-1 0-1 0 0,1 0 0 0 0,0 0 1 0 0,0-1-1 0 0,-1 1 1 0 0,1 0-1 0 0,-13-10-23 0 0,5 7-11 0 0,0 2 23 0 0,1 0-1 0 0,-1 1 1 0 0,0-1-1 0 0,0 1 1 0 0,0 1 0 0 0,0 0-1 0 0,0 0 1 0 0,-10 3-1 0 0,-66 24-135 0 0,39-12 116 0 0,-54 18-372 0 0,96-33 175 0 0,-9 3-598 0 0,10-4 113 0 0</inkml:trace>
</inkml:ink>
</file>

<file path=ppt/ink/ink2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3.48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 14 8 0 0,'-9'2'12811'0'0,"17"-2"-10237"0"0,12-2-3459 0 0,-6 1 3090 0 0,65 3-365 0 0,-44 1-1607 0 0,-1-2-1 0 0,1-2 0 0 0,59-9 1 0 0,-89 9-229 0 0,25-4 12 0 0,-25 4-148 0 0,1 1-1 0 0,-1 0 1 0 0,0 0 0 0 0,0 0 0 0 0,8 1-1 0 0,-11 0-307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6.85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4 138 8 0 0,'-3'-16'477'0'0,"-1"-6"2376"0"0,-2 1 1 0 0,-10-29 0 0 0,8 37-498 0 0,6 10-1958 0 0,0 0 607 0 0,-1 1-268 0 0,-8-4-267 0 0,8 4-220 0 0,3 3-245 0 0,0-1 1 0 0,0 0-1 0 0,0 1 1 0 0,-1-1-1 0 0,1 0 1 0 0,0 1-1 0 0,0-1 1 0 0,0 0-1 0 0,-1 0 1 0 0,1 1-1 0 0,0-1 0 0 0,0 0 1 0 0,-1 0-1 0 0,1 1 1 0 0,0-1-1 0 0,0 0 1 0 0,-1 0-1 0 0,1 0 1 0 0,0 0-1 0 0,-1 1 1 0 0,1-1-1 0 0,0 0 1 0 0,-1 0-1 0 0,1 0 1 0 0,-1 0-7 0 0,0 0 1 0 0,1 1-1 0 0,-1-1 1 0 0,1 0-1 0 0,-1 0 0 0 0,0 1 1 0 0,1-1-1 0 0,-1 0 1 0 0,1 1-1 0 0,-1-1 1 0 0,1 1-1 0 0,-1-1 1 0 0,1 1-1 0 0,0-1 1 0 0,-1 1-1 0 0,1-1 1 0 0,0 1-1 0 0,-1-1 0 0 0,1 1 1 0 0,0-1-1 0 0,-1 1 1 0 0,1 0-1 0 0,0 0 1 0 0,-7 15-14 0 0,1 0 0 0 0,1 0 0 0 0,0 0 0 0 0,1 1 0 0 0,-3 25 0 0 0,-2 92-61 0 0,8 124-818 0 0,1-62-2880 0 0,-4-48-996 0 0,4-137 4649 0 0,0 0 656 0 0,2-14-262 0 0,1-19-114 0 0,-1 13-55 0 0,1-12 244 0 0,2 0 1 0 0,13-36 0 0 0,-14 48-251 0 0,0 0 0 0 0,1 1 0 0 0,-1-1-1 0 0,2 1 1 0 0,-1 0 0 0 0,1 1 0 0 0,1-1 0 0 0,10-9 0 0 0,-8 9-89 0 0,0 1 1 0 0,1 0 0 0 0,0 0 0 0 0,1 1 0 0 0,-1 0-1 0 0,16-6 1 0 0,-10 7-274 0 0,1 0 0 0 0,-1 0 0 0 0,34-3 0 0 0,-35 7 168 0 0,1-2 0 0 0,-1 0-1 0 0,0 0 1 0 0,0-1 0 0 0,0-1-1 0 0,0-1 1 0 0,-1 0 0 0 0,0-1-1 0 0,19-11 1 0 0,-22 10 412 0 0,-9 7 94 0 0,1-1 60 0 0,7-9 2356 0 0,-13 14-2343 0 0,-1 1-322 0 0,2-3-45 0 0,1 1 1 0 0,-1 0-1 0 0,0 0 1 0 0,1-1-1 0 0,-1 1 1 0 0,-1 4-1 0 0,-6 9 447 0 0,0 0-1 0 0,1 0 0 0 0,1 1 0 0 0,1 0 0 0 0,-6 20 1 0 0,6-12-36 0 0,1 0 0 0 0,2 0 0 0 0,-2 32 0 0 0,7-23-314 0 0,0-24-141 0 0,-2-8-66 0 0,0 0 0 0 0,0-1 0 0 0,0 1 0 0 0,0-1 0 0 0,0 1 1 0 0,0 0-1 0 0,0-1 0 0 0,1 1 0 0 0,-1-1 0 0 0,0 1 0 0 0,0-1 0 0 0,1 1 0 0 0,-1-1 0 0 0,0 1 0 0 0,1-1 1 0 0,-1 1-1 0 0,1 0 0 0 0,3 4 82 0 0,-1-5-55 0 0,9 0-34 0 0,-6-2-64 0 0,-2 0 24 0 0,-2 1 4 0 0,-1 0 1 0 0,1 0-1 0 0,-1 0 0 0 0,1 0 1 0 0,-1 0-1 0 0,1 0 1 0 0,-1-1-1 0 0,2-1 1 0 0,20-24-1770 0 0,-1 0 1 0 0,21-35 0 0 0,-28 39 390 0 0,-10 16 975 0 0,0 0 0 0 0,0 0 0 0 0,0 0 0 0 0,1 1 0 0 0,0 0 0 0 0,0 0 0 0 0,0 0 0 0 0,1 1 0 0 0,12-8 0 0 0,-19 13 444 0 0,1 0 0 0 0,-1-1 1 0 0,1 1-1 0 0,-1 0 1 0 0,1 0-1 0 0,-1 0 1 0 0,1-1-1 0 0,-1 1 1 0 0,1 0-1 0 0,-1 0 0 0 0,1 0 1 0 0,-1 0-1 0 0,1 0 1 0 0,0 0-1 0 0,-1 0 1 0 0,1 0-1 0 0,-1 0 1 0 0,1 0-1 0 0,0 1 1 0 0,1-1 45 0 0,0 0 262 0 0,1 3 135 0 0,8 9 83 0 0,-7-5 16 0 0,-3-4-371 0 0,3 15 640 0 0,-2 0-424 0 0,0 7 9 0 0,8 29 1 0 0,-10-53-454 0 0,0 0 1 0 0,0 0-1 0 0,1 0 1 0 0,-1 0-1 0 0,0 0 1 0 0,1 0-1 0 0,-1 0 1 0 0,1 0-1 0 0,-1 0 1 0 0,2 2-1 0 0,0 0-125 0 0,0-1-596 0 0,2 0-715 0 0,6 3-911 0 0,-3-10 262 0 0,-6 5 1997 0 0,0-1 0 0 0,-1 0-1 0 0,1 1 1 0 0,0-1 0 0 0,0 0 0 0 0,0 1 0 0 0,0-1-1 0 0,-1 0 1 0 0,1 0 0 0 0,0 0 0 0 0,0-1-1 0 0,10-13-369 0 0,2-6 427 0 0,1-3 83 0 0,-3 2 120 0 0,20-31 12560 0 0,-31 56-12283 0 0,-7 24 449 0 0,0-12-599 0 0,2-7-107 0 0,1 1 0 0 0,0 1 0 0 0,-3 13 0 0 0,6-19-111 0 0,0 1 1 0 0,0-1-1 0 0,0 0 1 0 0,1 0-1 0 0,-1 1 1 0 0,1-1-1 0 0,0 1 1 0 0,0-1-1 0 0,1 0 1 0 0,0 1-1 0 0,-1-1 1 0 0,1 0-1 0 0,1 0 1 0 0,-1 0-1 0 0,3 6 1 0 0,-3-8-39 0 0,2-1-17 0 0,0 0 23 0 0,-1 0-34 0 0,0 0 1 0 0,0-1-1 0 0,0 1 1 0 0,0 0 0 0 0,0-1-1 0 0,0 0 1 0 0,1 0-1 0 0,-1 1 1 0 0,0-1-1 0 0,0-1 1 0 0,1 1 0 0 0,-1 0-1 0 0,4-1 1 0 0,-2 0-27 0 0,-2 1 40 0 0,-1 0 0 0 0,1 0 0 0 0,-1-1 0 0 0,1 1 0 0 0,-1 0-1 0 0,0-1 1 0 0,1 1 0 0 0,-1-1 0 0 0,1 0 0 0 0,-1 1 0 0 0,1-2 0 0 0,7-3-27 0 0,7-4-15 0 0,1 1 0 0 0,-1 1-1 0 0,22-7 1 0 0,-37 13 61 0 0,1 1 0 0 0,0 0 0 0 0,-1-1 0 0 0,1 1 0 0 0,-1 0-1 0 0,1 0 1 0 0,0 0 0 0 0,2 1 0 0 0,1-1 10 0 0,-4 0-2 0 0,0 0 0 0 0,0 0-1 0 0,0 0 1 0 0,0 0-1 0 0,1 0 1 0 0,-1 0 0 0 0,0 1-1 0 0,0-1 1 0 0,0 0-1 0 0,0 1 1 0 0,0-1 0 0 0,0 1-1 0 0,0-1 1 0 0,2 1-1 0 0,0 1 10 0 0,3 2 38 0 0,-3 1-31 0 0,0-1 1 0 0,-1 1 0 0 0,1-1-1 0 0,-1 1 1 0 0,0 0 0 0 0,0 0-1 0 0,0 0 1 0 0,-1 0 0 0 0,0 0-1 0 0,0 1 1 0 0,0 4 0 0 0,0 9-18 0 0,-2 0 1 0 0,0 0-1 0 0,-1 0 1 0 0,-1-1-1 0 0,-7 27 1 0 0,-36 88 9 0 0,38-114 14 0 0,-12 34 35 0 0,-3-2 0 0 0,-36 60-1 0 0,53-101 9 0 0,-1-1 0 0 0,0 0-1 0 0,0 0 1 0 0,-1-1-1 0 0,-14 13 1 0 0,18-18 42 0 0,0 0 1 0 0,0-1-1 0 0,0 1 1 0 0,0-1-1 0 0,0 0 1 0 0,0 0 0 0 0,0 0-1 0 0,-1-1 1 0 0,1 1-1 0 0,-1-1 1 0 0,1 0-1 0 0,-1 0 1 0 0,0-1-1 0 0,1 0 1 0 0,-10 0-1 0 0,8-2 252 0 0,3 1-244 0 0,1 1-76 0 0,1-1 1 0 0,0 1 0 0 0,0-1-1 0 0,-1 1 1 0 0,1-1-1 0 0,0 0 1 0 0,0 1 0 0 0,0-1-1 0 0,0 0 1 0 0,0 0 0 0 0,0 0-1 0 0,0 0 1 0 0,-1-1 0 0 0,-10-10 296 0 0,7 5-46 0 0,3 2-235 0 0,0 0 1 0 0,1-1 0 0 0,-1 1 0 0 0,1-1-1 0 0,0 1 1 0 0,1-1 0 0 0,-1 1 0 0 0,1-1-1 0 0,0 1 1 0 0,1-1 0 0 0,-1 0-1 0 0,3-9 1 0 0,1 1-46 0 0,1 1 0 0 0,1 0 0 0 0,0 0 0 0 0,0 1 0 0 0,2-1-1 0 0,-1 1 1 0 0,1 1 0 0 0,1 0 0 0 0,16-17 0 0 0,11-6-417 0 0,54-40 1 0 0,-87 71 348 0 0,70-49-3668 0 0,4 7-7202 0 0,-49 31 6818 0 0</inkml:trace>
</inkml:ink>
</file>

<file path=ppt/ink/ink2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3.8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0 6 8 0 0,'-16'-6'1014'0'0,"3"9"449"0"0,11-2-695 0 0,-1 1-60 0 0,-16 16 1308 0 0,17-16-1644 0 0,0 7 199 0 0,2-8-520 0 0,-1-1-1 0 0,1 1 0 0 0,0 0 1 0 0,-1 0-1 0 0,1 0 0 0 0,0 0 1 0 0,0-1-1 0 0,0 1 1 0 0,0 0-1 0 0,0 0 0 0 0,0 0 1 0 0,0 1-1 0 0,2 29 1518 0 0,15 45 1459 0 0,-17-76-3004 0 0,16 60 1554 0 0,-2 1-1 0 0,5 67 0 0 0,-16-98-1351 0 0,-2 0-1 0 0,-1 0 0 0 0,-1 0 0 0 0,-2 0 0 0 0,-1 0 1 0 0,-13 50-1 0 0,-3-19 75 0 0,19-59-334 0 0</inkml:trace>
</inkml:ink>
</file>

<file path=ppt/ink/ink2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52.8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0 8 0 0,'12'9'2594'0'0,"-12"-9"-2568"0"0,0 0 0 0 0,1 0 0 0 0,-1 0 0 0 0,0 0 1 0 0,0 0-1 0 0,0 0 0 0 0,0 0 0 0 0,0 0 0 0 0,1 1 0 0 0,-1-1 0 0 0,0 0 0 0 0,0 0 1 0 0,0 0-1 0 0,0 0 0 0 0,0 0 0 0 0,1 0 0 0 0,-1 0 0 0 0,0 0 0 0 0,0 0 0 0 0,0 0 1 0 0,0 0-1 0 0,1 0 0 0 0,-1 0 0 0 0,0 0 0 0 0,0-1 0 0 0,0 1 0 0 0,0 0 0 0 0,0 0 1 0 0,1 0-1 0 0,-1 0 0 0 0,0 0 0 0 0,0 0 0 0 0,0 0 0 0 0,1-1 45 0 0,-1 1-1 0 0,0 0 0 0 0,1 0 1 0 0,-1 0-1 0 0,0 0 0 0 0,1 0 1 0 0,-1-1-1 0 0,0 1 0 0 0,1 0 1 0 0,-1 0-1 0 0,0 0 1 0 0,1 0-1 0 0,-1 0 0 0 0,1 0 1 0 0,-1 0-1 0 0,0 0 0 0 0,1 0 1 0 0,-1 0-1 0 0,0 0 0 0 0,1 1 1 0 0,-1-1-1 0 0,1 0 0 0 0,-1 0 1 0 0,1 0-1 0 0,2 3 378 0 0,1 0 0 0 0,-1 0 0 0 0,21 21 7753 0 0,-24-27-8158 0 0,1-6 1 0 0,-1 7 53 0 0,-1-1-69 0 0,-4-6 9 0 0,4 7 118 0 0,1 2-151 0 0,0-1 0 0 0,0 1 1 0 0,0 0-1 0 0,0-1 0 0 0,0 1 0 0 0,0 0 0 0 0,0-1 1 0 0,0 1-1 0 0,0 0 0 0 0,0 0 0 0 0,-1-1 0 0 0,1 1 1 0 0,0 0-1 0 0,0 0 0 0 0,0-1 0 0 0,0 1 0 0 0,-1 0 1 0 0,1 0-1 0 0,0-1 0 0 0,0 1 0 0 0,0 0 0 0 0,-1 0 1 0 0,1-1-1 0 0,-1 1 1 0 0,1 0 0 0 0,0 0 0 0 0,0 0-1 0 0,-1 0 1 0 0,1-1 0 0 0,0 1-1 0 0,0 0 1 0 0,0 0 0 0 0,-1-1 0 0 0,1 1-1 0 0,0 0 1 0 0,0 0 0 0 0,0-1 0 0 0,0 1-1 0 0,0 0 1 0 0,0-1 0 0 0,-1 1-1 0 0,1 0 1 0 0,0 0 0 0 0,0-1 0 0 0,0 0 175 0 0,-2 2-172 0 0,2-1-2 0 0,0 0 0 0 0,-1-1 0 0 0,1 1 0 0 0,0 0 0 0 0,0 0 0 0 0,-1 0 0 0 0,1 0 0 0 0,0 1 0 0 0,0-1 0 0 0,-1 0-1 0 0,1 0 1 0 0,0 0 0 0 0,0 0 0 0 0,-1 0 0 0 0,1 0 0 0 0,0 0 0 0 0,0 0 0 0 0,0 0 0 0 0,-1 1 0 0 0,1-1 0 0 0,0 0 0 0 0,0 0-1 0 0,0 0 1 0 0,-1 0 0 0 0,1 1 0 0 0,0-1 0 0 0,0 0 0 0 0,0 0 0 0 0,0 0 0 0 0,0 1 0 0 0,-1-1 0 0 0,1 1 0 0 0,4 6 138 0 0,-3-6-178 0 0,1 2 122 0 0,-2-1-52 0 0,2 7-10 0 0,-2-6 48 0 0,1-1-46 0 0,-2 1-21 0 0,7 19 14 0 0,-1-9 8 0 0,1-4 28 0 0,9 19 72 0 0,6 10-13 0 0,-3 1 0 0 0,0 1 1 0 0,21 78-1 0 0,12 137 54 0 0,-43-185 392 0 0,0 120 0 0 0,-10-164-256 0 0,-1 1 1 0 0,0-1 0 0 0,-2 0-1 0 0,-1 0 1 0 0,-1-1 0 0 0,-18 43 0 0 0,22-59-288 0 0,1-4-9 0 0,0 0 0 0 0,0 0 0 0 0,0-1 0 0 0,0 1 1 0 0,-3 3-1 0 0,-5 8-100 0 0,8-13-23 0 0,-2-13-3488 0 0,4 9 3325 0 0,0-3-1044 0 0,10-11-3722 0 0,16-15-4882 0 0</inkml:trace>
</inkml:ink>
</file>

<file path=ppt/ink/ink2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4.46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6 5 8 0 0,'-3'-1'287'0'0,"1"0"-30"0"0,1 1 1 0 0,-1-1-1 0 0,0 1 1 0 0,0-1 0 0 0,0 1-1 0 0,0 0 1 0 0,0 0-1 0 0,0 0 1 0 0,0 0 0 0 0,1 0-1 0 0,-1 0 1 0 0,0 1-1 0 0,0-1 1 0 0,0 1-1 0 0,0-1 1 0 0,0 1 0 0 0,1 0-1 0 0,-1 0 1 0 0,0-1-1 0 0,-3 4 1 0 0,-23 20 1037 0 0,15-12-1100 0 0,1 1 0 0 0,0 0 0 0 0,-13 22 0 0 0,6-10 284 0 0,0 2 1096 0 0,1 1 0 0 0,1 0 1 0 0,-18 44-1 0 0,24-43-639 0 0,1 1 0 0 0,2-1 0 0 0,1 2 0 0 0,-4 40 0 0 0,7-36-660 0 0,2 1 0 0 0,3 37 0 0 0,2-31-230 0 0,1 1 0 0 0,3-1 1 0 0,13 44-1 0 0,-13-60-32 0 0,2 1 0 0 0,1-2-1 0 0,1 1 1 0 0,17 27-1 0 0,-21-41-282 0 0,1 0-1 0 0,0-1 0 0 0,1 0 0 0 0,0 0 0 0 0,1-1 0 0 0,0 0 0 0 0,0-1 0 0 0,1 0 0 0 0,0-1 1 0 0,13 8-1 0 0,-20-14-356 0 0,0 0 0 0 0,0 0 0 0 0,0-1 1 0 0,0 1-1 0 0,0-1 0 0 0,0 0 0 0 0,7 1 0 0 0,-7-2-461 0 0,-1 0-1 0 0,1 0 0 0 0,-1-1 0 0 0,0 1 0 0 0,1-1 0 0 0,-1 1 1 0 0,1-1-1 0 0,-1 0 0 0 0,6-3 0 0 0,6-3-371 0 0</inkml:trace>
</inkml:ink>
</file>

<file path=ppt/ink/ink2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4.83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6 508 8 0 0,'-6'3'1317'0'0,"0"0"0"0"0,1 0 0 0 0,-1 1 0 0 0,1 0 1 0 0,0 0-1 0 0,0 1 0 0 0,-6 5 0 0 0,6-1-914 0 0,3-7 193 0 0,5-4-332 0 0,23-18 381 0 0,-1-3-422 0 0,-2-1-1 0 0,23-30 0 0 0,94-141 476 0 0,-19-12 1555 0 0,-107 178-1551 0 0,-17 30-687 0 0,-8 5-7 0 0,6-2-2 0 0,-10 22 26 0 0,1 0 1 0 0,1 1-1 0 0,1 0 0 0 0,1 1 0 0 0,-8 38 1 0 0,8-19 156 0 0,2 0 1 0 0,-3 78 0 0 0,4 143-690 0 0,8-265 153 0 0,0-1-165 0 0,3 7-188 0 0</inkml:trace>
</inkml:ink>
</file>

<file path=ppt/ink/ink2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5.1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99 8 0 0,'1'-2'3109'0'0,"12"-17"3782"0"0,-8 14-7000 0 0,-3 3 895 0 0,0 1-77 0 0,11-6 692 0 0,0 0-1 0 0,22-7 0 0 0,-20 9-985 0 0,1 1 1 0 0,0 0-1 0 0,0 1 0 0 0,25-2 1 0 0,-19 4-247 0 0,-11 0-73 0 0,0 0 0 0 0,-1 1 1 0 0,1 0-1 0 0,20 4 1 0 0,-22-3-75 0 0,3 2 20 0 0,-10-2 98 0 0,-3-12-1493 0 0,1 9 576 0 0,-9-11-3291 0 0</inkml:trace>
</inkml:ink>
</file>

<file path=ppt/ink/ink2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5.6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95 0 8 0 0,'-2'2'3853'0'0,"-12"6"-616"0"0,2 1-1 0 0,-23 20 1 0 0,15-11-2028 0 0,0 3-206 0 0,9-8-549 0 0,1 0 0 0 0,1 0 0 0 0,0 0 0 0 0,-10 23 0 0 0,13-18-156 0 0,0-1 0 0 0,1 1 0 0 0,-4 35 0 0 0,2 56-67 0 0,7 20-224 0 0,19 138 0 0 0,-15-251-345 0 0,-4-14-5 0 0,14-12-3413 0 0,-9 4 1624 0 0,18-51-8060 0 0,-15 36 7471 0 0</inkml:trace>
</inkml:ink>
</file>

<file path=ppt/ink/ink2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5.9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9 191 8 0 0,'-33'-18'3509'0'0,"32"18"-3391"0"0,0 0 0 0 0,0 0 0 0 0,1-1 0 0 0,-1 1 0 0 0,0-1 1 0 0,1 1-1 0 0,-1-1 0 0 0,1 1 0 0 0,-1-1 0 0 0,1 1 0 0 0,-1-1 0 0 0,1 1 0 0 0,-1-1 1 0 0,1 0-1 0 0,-1 1 0 0 0,1-1 0 0 0,0 0 0 0 0,-1 1 0 0 0,1-2 0 0 0,-1 0 271 0 0,0 1-294 0 0,1 1 1 0 0,0-1-1 0 0,-1 0 0 0 0,1 1 1 0 0,0-1-1 0 0,-1 0 0 0 0,1 1 1 0 0,0-1-1 0 0,0 0 0 0 0,-1 1 1 0 0,1-1-1 0 0,0 0 0 0 0,0 1 0 0 0,0-1 1 0 0,0 0-1 0 0,0 0 0 0 0,0 1 1 0 0,0-1-1 0 0,1-1 0 0 0,-1 1 202 0 0,0 0-199 0 0,0 0 0 0 0,0 0 1 0 0,0 0-1 0 0,0 0 0 0 0,0 0 0 0 0,0 0 0 0 0,0 0 0 0 0,0 0 1 0 0,0 0-1 0 0,1 0 0 0 0,-1 0 0 0 0,0 0 0 0 0,1 0 0 0 0,0-2 1 0 0,0 1 161 0 0,3-5 522 0 0,2-1-652 0 0,1 0 1 0 0,0 1-1 0 0,0 0 0 0 0,0 0 0 0 0,1 1 0 0 0,14-9 0 0 0,-8 7 247 0 0,0 0 1 0 0,0 2-1 0 0,29-10 0 0 0,-23 10-85 0 0,1 1-1 0 0,0 1 0 0 0,1 1 1 0 0,-1 1-1 0 0,1 1 1 0 0,34 2-1 0 0,-42 1-946 0 0,1 0-1 0 0,-1 1 1 0 0,0 1-1 0 0,0 0 1 0 0,-1 0 0 0 0,1 2-1 0 0,-1 0 1 0 0,24 14-1 0 0,-27-12-3376 0 0,-3-1 2690 0 0,-3-3 267 0 0</inkml:trace>
</inkml:ink>
</file>

<file path=ppt/ink/ink2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6.28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7 3 8 0 0,'-13'11'12705'0'0,"16"-12"-12106"0"0,3-1-241 0 0,2 0 243 0 0,-1 0 1 0 0,15-2 0 0 0,-15 3-367 0 0,-2 0-161 0 0,-1 1 0 0 0,0 0 0 0 0,1 0 0 0 0,-1 0-1 0 0,1 0 1 0 0,-1 0 0 0 0,0 1 0 0 0,1 0 0 0 0,-1 0 0 0 0,0 0 0 0 0,6 3 0 0 0,2 3 17 0 0,-9-5-69 0 0,-1 0 57 0 0,0 1 5 0 0,6 9-7 0 0,-7-12-69 0 0,-1 1-1 0 0,1-1 0 0 0,-1 1 1 0 0,1 0-1 0 0,-1-1 1 0 0,0 1-1 0 0,1 0 0 0 0,-1 0 1 0 0,0-1-1 0 0,1 1 0 0 0,-1 0 1 0 0,0-1-1 0 0,0 1 0 0 0,0 0 1 0 0,0 0-1 0 0,0 0 1 0 0,0-1-1 0 0,0 2 0 0 0,0 1 17 0 0,0-2-12 0 0,0 0-1 0 0,1 1 1 0 0,-1-1-1 0 0,0 1 1 0 0,0-1-1 0 0,0 1 1 0 0,0-1-1 0 0,-1 1 1 0 0,1-1 0 0 0,0 1-1 0 0,-1 1 1 0 0,0 2 17 0 0,-1 5 13 0 0,-1 0 0 0 0,1 0 0 0 0,-1-1-1 0 0,-8 17 1 0 0,-22 33-90 0 0,14-25-14 0 0,-12 24 456 0 0,-3 0 0 0 0,-50 63 0 0 0,79-116-243 0 0,2-1 8 0 0,0-1 0 0 0,0 1 0 0 0,0-1 0 0 0,1 1 1 0 0,0 0-1 0 0,0 0 0 0 0,0 0 0 0 0,0 0 0 0 0,-1 5 1 0 0,0 3 296 0 0,6-12-240 0 0,-1 1-169 0 0,0-1 4 0 0,1 1 1 0 0,-1-1-1 0 0,1 0 1 0 0,0 0-1 0 0,-1 0 1 0 0,1 0-1 0 0,-1 0 1 0 0,1 0-1 0 0,-1-1 1 0 0,4 0-1 0 0,135-42 91 0 0,-78 23-4089 0 0,0 1-7702 0 0,-41 12 5520 0 0</inkml:trace>
</inkml:ink>
</file>

<file path=ppt/ink/ink2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48.33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4 14 8 0 0,'0'0'4616'0'0,"0"-2"-4084"0"0,3-9 1924 0 0,-5 11-2414 0 0,-5-1 634 0 0,10 5 527 0 0,4 2-1319 0 0,-5 5 226 0 0,-1-8 615 0 0,-3-3-577 0 0,-6 3-12 0 0,5-2 114 0 0,1-2-194 0 0,-6 0-2 0 0,6 0 32 0 0,0 1-62 0 0,-6-1-21 0 0,5 1-10 0 0,1 0-46 0 0,-6 1 42 0 0,6-1 7 0 0,3 0-102 0 0,0 0 108 0 0,-1 0 1 0 0,1 1-1 0 0,0-1 1 0 0,0 0-1 0 0,-1 1 1 0 0,1-1-1 0 0,0 0 1 0 0,0 1-1 0 0,-1-1 1 0 0,2 2-1 0 0,-2-2 1 0 0,2 1 12 0 0,1-3-6 0 0,5-2-5 0 0,-6 3-20 0 0,0-1-226 0 0,-1 1-107 0 0,-1 0 179 0 0,1 1 0 0 0,0-1 1 0 0,-1 0-1 0 0,1 1 0 0 0,0-1 1 0 0,0 1-1 0 0,-1-1 0 0 0,1 1 1 0 0,0-1-1 0 0,1 0 0 0 0,-4 1 146 0 0,-6-1 14 0 0,6 1 0 0 0,0 0-4 0 0,-6 2-5 0 0,5-2-14 0 0</inkml:trace>
</inkml:ink>
</file>

<file path=ppt/ink/ink2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56.76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6 36 8 0 0,'-13'9'5807'0'0,"10"-11"-4991"0"0,-6-3 2663 0 0,-2 8-3284 0 0,9-2 232 0 0,3 1-362 0 0,-1 0 0 0 0,1 1 1 0 0,0-1-1 0 0,0 0 0 0 0,0 0 1 0 0,0 0-1 0 0,0 0 0 0 0,3 4 0 0 0,-4-5-80 0 0,2 1 87 0 0,-1 1-41 0 0,0-2-21 0 0,0 1 0 0 0,0 0-1 0 0,0-1 1 0 0,0 1-1 0 0,0-1 1 0 0,0 1 0 0 0,0-1-1 0 0,1 0 1 0 0,-1 0-1 0 0,0 1 1 0 0,4 1-1 0 0,22 18 131 0 0,-23-19-116 0 0,5 3 13 0 0,1-1 9 0 0,-6-2-14 0 0,0-1 0 0 0,1 1 1 0 0,-1-1-1 0 0,1 0 0 0 0,-1-1 0 0 0,1 1 0 0 0,-1-1 0 0 0,1 0 0 0 0,-1 0 0 0 0,5 0 1 0 0,-7-1 27 0 0,1 0 17 0 0,8-6 10 0 0,-8 6 1 0 0,-1-2-2 0 0,-1 2-82 0 0,1-1 20 0 0,0 0 1 0 0,0-1-1 0 0,0 1 0 0 0,-1-1 1 0 0,1 0-1 0 0,-1 1 0 0 0,1-1 1 0 0,-1 0-1 0 0,0 0 0 0 0,0 0 0 0 0,0 0 1 0 0,-1 0-1 0 0,1 0 0 0 0,-1 0 1 0 0,0 0-1 0 0,1 0 0 0 0,-1 0 0 0 0,-1-4 1 0 0,-4-15 11 0 0,5 20-72 0 0,-2-1-7 0 0,-7-7-6 0 0,7 8 17 0 0,0 0 16 0 0,-17-10-22 0 0,15 11 33 0 0,1 1-2 0 0,-3-1-1 0 0,0-1-1 0 0,0 2 0 0 0,0-1 1 0 0,-1 1-1 0 0,1 0 0 0 0,0 0 1 0 0,0 0-1 0 0,-8 2 0 0 0,-3 0-77 0 0,14-1 64 0 0,1-1 0 0 0,0 1-1 0 0,-1 0 1 0 0,1 0 0 0 0,0 0 0 0 0,-1 0-1 0 0,1 0 1 0 0,0 0 0 0 0,0 1-1 0 0,-2 1 1 0 0,1-1-5 0 0,1-1 16 0 0,0 1 0 0 0,1-1 0 0 0,-1 1 0 0 0,0 0 0 0 0,1 0 0 0 0,0 0 0 0 0,-1 0 0 0 0,1 0 0 0 0,0 0 0 0 0,-2 4 0 0 0,2-4 6 0 0,0 1-14 0 0,0 0 1 0 0,0 0-1 0 0,0 0 1 0 0,0 0 0 0 0,1 1-1 0 0,-1-1 1 0 0,1 0-1 0 0,0 0 1 0 0,0 6-1 0 0,0-6 10 0 0,-1 6-26 0 0,1-8 33 0 0,-1 0-1 0 0,1 0 1 0 0,0 0-1 0 0,0 0 0 0 0,0 0 1 0 0,1 0-1 0 0,-1 0 1 0 0,0 0-1 0 0,0 0 1 0 0,0 0-1 0 0,1 0 1 0 0,-1 0-1 0 0,0 0 0 0 0,2 1 1 0 0,12 23 97 0 0,-13-23-19 0 0,2 0 4 0 0,-1-1-73 0 0,-1 1 19 0 0,1 0 1 0 0,0-1-1 0 0,0 0 0 0 0,-1 1 0 0 0,1-1 1 0 0,0 0-1 0 0,0 0 0 0 0,0 0 0 0 0,0 0 0 0 0,0 0 1 0 0,1 0-1 0 0,-1-1 0 0 0,3 1 0 0 0,-1-1 4 0 0,1 0 0 0 0,-1-1-1 0 0,0 1 1 0 0,0-1-1 0 0,0 0 1 0 0,0 0-1 0 0,0-1 1 0 0,0 1 0 0 0,0-1-1 0 0,0 0 1 0 0,0 0-1 0 0,-1 0 1 0 0,1-1-1 0 0,-1 1 1 0 0,1-1 0 0 0,3-4-1 0 0,-5 5-17 0 0,1-1 3 0 0,7-9 3 0 0,-7 9 10 0 0,-2 0-6 0 0,6-8-21 0 0,-6 8-18 0 0,0 1-25 0 0,3-8-30 0 0,-3 7-32 0 0,-2 1-34 0 0,0-7-44 0 0,0 6-34 0 0,-1 1-615 0 0,-7-6 497 0 0,6 6-17 0 0,-7 2-354 0 0,8 0 386 0 0,-1 1 37 0 0,-7 6 40 0 0,8-6 54 0 0,-1 2 45 0 0,-1 1 112 0 0,-4 5-79 0 0,5-4 83 0 0,0 1 0 0 0,1-1 1 0 0,-3 8-1 0 0,3-6 199 0 0,0 1 1 0 0,1-1-1 0 0,-1 9 0 0 0,2-14 310 0 0,0 0-227 0 0,4 10 807 0 0,-2-12-843 0 0,0-1-169 0 0,1 0 0 0 0,-1 0-1 0 0,0 0 1 0 0,0 0 0 0 0,0 0-1 0 0,0-1 1 0 0,-1 1 0 0 0,1 0-1 0 0,0-1 1 0 0,1-1 0 0 0,0 0-7 0 0,-1 1-6 0 0,2-5-18 0 0,-1 0-1 0 0,1 1 1 0 0,-1-1 0 0 0,0-1-1 0 0,2-7 1 0 0,-4 13-40 0 0,-1-1-7 0 0,1-7-18 0 0,-1 8-10 0 0,-2 0-405 0 0,-6-2 382 0 0,6 3 18 0 0,0 3-3 0 0,-4 10 57 0 0,4-10 0 0 0,1 1 2 0 0,-2 7 10 0 0,3-7 5 0 0,0-1 4 0 0,-1-1-17 0 0,1 1-1 0 0,1 0 0 0 0,-1 0 0 0 0,0 0 1 0 0,0-1-1 0 0,1 1 0 0 0,-1 0 0 0 0,1-1 1 0 0,0 1-1 0 0,0 1 0 0 0,0 0-161 0 0,5-2-1991 0 0,-1 1 1364 0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7.53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4 139 2312 0 0,'-24'-47'6577'0'0,"20"38"-5002"0"0,1 0 0 0 0,-2-12 1 0 0,-2-2 546 0 0,3 10-1584 0 0,4 10-109 0 0,-1 1-112 0 0,0 0-237 0 0,0 2-48 0 0,1-1 1 0 0,-1 0-1 0 0,1 1 1 0 0,0-1-1 0 0,-1 0 1 0 0,1 1-1 0 0,0-1 1 0 0,0 0-1 0 0,-1 0 0 0 0,1 1 1 0 0,0-2-1 0 0,-2 5-57 0 0,-3 5 5 0 0,1 1-1 0 0,1-1 1 0 0,-1 1-1 0 0,2 0 1 0 0,-4 17-1 0 0,-5 44-29 0 0,-1 89-1 0 0,11 70 52 0 0,1-200-100 0 0,6 151 173 0 0,-2-137-1187 0 0,1 0 1 0 0,13 49-1 0 0,-14-80-305 0 0</inkml:trace>
</inkml:ink>
</file>

<file path=ppt/ink/ink2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0.41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3 119 8 0 0,'-5'-32'5202'0'0,"2"18"-2645"0"0,2 11-1481 0 0,-2-8-130 0 0,3 8-89 0 0,-1 1-74 0 0,-4-24 1688 0 0,5 24-1596 0 0,0 0-489 0 0,0-9 1289 0 0,0 9-1373 0 0,0-8 1565 0 0,-2 12-1821 0 0,-6 5-8 0 0,6-5 17 0 0,0 1-42 0 0,-1 2-2 0 0,0 0-5 0 0,0 0-1 0 0,0 1 1 0 0,1-1 0 0 0,-4 12-1 0 0,-13 38-10 0 0,11-22 6 0 0,1-1 0 0 0,1 1 0 0 0,-1 36 0 0 0,3 101-10 0 0,4-153 10 0 0,14 347 153 0 0,-2-79 359 0 0,-13-192 1288 0 0,1-93-1800 0 0,0 0 0 0 0,0-1 0 0 0,0 1 0 0 0,0 0 0 0 0,0-1 0 0 0,0 1 0 0 0,0 0 0 0 0,1-1 0 0 0,-1 1 0 0 0,0 0 0 0 0,0-1 0 0 0,0 1 0 0 0,0 0 0 0 0,0-1 0 0 0,1 1 0 0 0,-1 0 0 0 0,0-1 0 0 0,0 1 0 0 0,0 0 0 0 0,1-1 0 0 0,0 1-13 0 0,-1-1 1 0 0,0 1 0 0 0,1-1 0 0 0,-1 1 0 0 0,1-1 0 0 0,-1 1 0 0 0,0-1 0 0 0,0 0 0 0 0,1 1 0 0 0,-1-1 0 0 0,0 0 0 0 0,0 1 0 0 0,0-1 0 0 0,1 0 0 0 0,-1 1 0 0 0,0-1 0 0 0,0-1 0 0 0,4-27-583 0 0,7-90-7490 0 0,-10 70-1753 0 0,-1 35 6883 0 0</inkml:trace>
</inkml:ink>
</file>

<file path=ppt/ink/ink2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0.74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 61 8 0 0,'-3'-5'9233'0'0,"5"5"-8435"0"0,1 0-56 0 0,129-8 4640 0 0,-51 5-4491 0 0,151-21-731 0 0,-207 21-361 0 0,-13 1-477 0 0,32-4-1913 0 0,-28 4-1484 0 0,2-2-3355 0 0,-1 1 5199 0 0</inkml:trace>
</inkml:ink>
</file>

<file path=ppt/ink/ink2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1.3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7 29 8 0 0,'-10'15'0'0'0,"1"2"0"0"0,-4 14 736 0 0,13-30-490 0 0,-1 1-1 0 0,1-1 1 0 0,-1 1-1 0 0,1-1 1 0 0,0 1-1 0 0,-1 0 1 0 0,1-1 0 0 0,0 3-1 0 0,0-3 198 0 0,0 0 0 0 0,0 0 0 0 0,0 1 0 0 0,0-1 0 0 0,0 0 0 0 0,-1 0 0 0 0,1 0 0 0 0,0 1 0 0 0,-1 0 0 0 0,3-3-87 0 0,0 1-310 0 0,-1-1 0 0 0,1 1 0 0 0,-1-1 0 0 0,0 0 0 0 0,1 1 0 0 0,-1-1-1 0 0,0 0 1 0 0,1 0 0 0 0,-1 0 0 0 0,0 0 0 0 0,0 0 0 0 0,0 0 0 0 0,0 0 0 0 0,0-1-1 0 0,0 1 1 0 0,0 0 0 0 0,0-1 0 0 0,0 1 0 0 0,0-2 0 0 0,14-25 214 0 0,-10 19-170 0 0,-1-1 0 0 0,6-16 1 0 0,-9 24-37 0 0,-1-1 9 0 0,1-8 5 0 0,-1 8 257 0 0,-2 2-277 0 0,0 0-34 0 0,1 0-8 0 0,1 1 0 0 0,-1-1 0 0 0,0 1 0 0 0,0-1 0 0 0,1 1 0 0 0,-1 0 0 0 0,0-1 0 0 0,0 1 0 0 0,1 0 0 0 0,-1 0 0 0 0,0-1 0 0 0,-1 1 0 0 0,1 0 5 0 0,0 0-1 0 0,0 1 1 0 0,1-1-1 0 0,-1 0 0 0 0,0 1 1 0 0,0-1-1 0 0,0 0 1 0 0,1 1-1 0 0,-1-1 0 0 0,0 1 1 0 0,0-1-1 0 0,0 2 1 0 0,-1-1 17 0 0,0 0 118 0 0,-1 2 55 0 0,-7 7 37 0 0,7-7 42 0 0,1-1 10 0 0,-6 8-10 0 0,6-7 9 0 0,1 0-16 0 0,-5 8-16 0 0,5-8-7 0 0,0-1-1 0 0,-3 8 6 0 0,3-7 5 0 0,1 0 11 0 0,0 8-26 0 0,0-8-42 0 0,1-1-37 0 0,8 20 322 0 0,-8-20-310 0 0,2-3-111 0 0,7 0-23 0 0,-8 0-36 0 0,1 0-54 0 0,-2 0-2 0 0,0 0 13 0 0,-1 1-1 0 0,1-1 1 0 0,0 1 0 0 0,-1 0-1 0 0,1-1 1 0 0,0 1-1 0 0,-1 0 1 0 0,1-1 0 0 0,0 1-1 0 0,0 0 1 0 0,-1 0-1 0 0,2-1 1 0 0,7-3-3800 0 0,-8 3 3568 0 0,0 1 0 0 0,-1 0 1 0 0,1 0-1 0 0,1 0 0 0 0</inkml:trace>
</inkml:ink>
</file>

<file path=ppt/ink/ink2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1.86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55 31 8 0 0,'1'-16'8431'0'0,"-3"15"-8083"0"0,2 0-176 0 0,-1 1 0 0 0,0-1 0 0 0,1 1 1 0 0,-1-1-1 0 0,0 1 0 0 0,1-1 1 0 0,-1 1-1 0 0,1-1 0 0 0,-1 0 0 0 0,1 0 1 0 0,-1 1-1 0 0,0-2 0 0 0,-1 1 553 0 0,-6-1-37 0 0,6 2-59 0 0,0 0-38 0 0,-8-1-11 0 0,8 0-17 0 0,-1 1-16 0 0,-4 1-203 0 0,-1-1 1 0 0,1 1-1 0 0,0 0 1 0 0,-1 1-1 0 0,1 0 1 0 0,0 0 0 0 0,-8 3-1 0 0,-6 4 96 0 0,-8 6-50 0 0,0 2-1 0 0,1 1 0 0 0,-38 31 0 0 0,49-34-242 0 0,1 0 0 0 0,0 1 0 0 0,1 1 0 0 0,1 0 0 0 0,1 1 0 0 0,-15 27 0 0 0,17-26-56 0 0,1 1 1 0 0,1 1-1 0 0,-13 39 0 0 0,20-53-88 0 0,1 0 0 0 0,-1 0 0 0 0,1 0 0 0 0,1 0 0 0 0,-1 0 0 0 0,1 0 0 0 0,0-1 0 0 0,1 1 0 0 0,0 0 0 0 0,0 0 0 0 0,0 0 0 0 0,1 0 0 0 0,0 0 0 0 0,0-1 0 0 0,1 1 0 0 0,4 7 0 0 0,-2-5-6 0 0,4 2 13 0 0,0-1 15 0 0,9 8-17 0 0,1 0-371 0 0,0-1-1 0 0,2-2 1 0 0,0 0 0 0 0,0-1-1 0 0,30 14 1 0 0,-44-25-166 0 0,-1 0 1 0 0,1-1-1 0 0,-1 0 0 0 0,1 0 1 0 0,0-1-1 0 0,0 0 1 0 0,12 1-1 0 0,-12-2-854 0 0,-1 0-1 0 0,1-1 0 0 0,-1 0 1 0 0,1 0-1 0 0,-1 0 1 0 0,0-1-1 0 0,0 0 0 0 0,11-5 1 0 0,0-2-1335 0 0</inkml:trace>
</inkml:ink>
</file>

<file path=ppt/ink/ink2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2.26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 196 864 0 0,'-3'3'2575'0'0,"0"-1"-1924"0"0,1-2-457 0 0,1 1-1 0 0,0 0 1 0 0,0-1 0 0 0,0 1-1 0 0,0 0 1 0 0,1 0-1 0 0,-1 0 1 0 0,0-1-1 0 0,0 1 1 0 0,0 0 0 0 0,1 0-1 0 0,-2 2 1 0 0,-7 11 3756 0 0,10-14-3935 0 0,0 0 0 0 0,0-1 1 0 0,0 1-1 0 0,0 0 0 0 0,0-1 0 0 0,0 1 1 0 0,0-1-1 0 0,0 1 0 0 0,0-1 0 0 0,0 1 1 0 0,0-1-1 0 0,0 1 0 0 0,-1-1 0 0 0,1 0 1 0 0,1-1-1 0 0,0 0-15 0 0,37-32-19 0 0,-31 26-2 0 0,28-30-152 0 0,-14 15 45 0 0,24-21 0 0 0,-30 30 141 0 0,-3 3 146 0 0,20-14-1 0 0,0 7 2235 0 0,-32 20-1917 0 0,3 8-7 0 0,-3-10-453 0 0,-1 1 0 0 0,0-1 0 0 0,0 0 0 0 0,0 0 0 0 0,0 0 0 0 0,0 1 0 0 0,0-1 0 0 0,0 0-1 0 0,0 0 1 0 0,0 0 0 0 0,0 1 0 0 0,0-1 0 0 0,0 0 0 0 0,0 0 0 0 0,0 1 0 0 0,0-1 0 0 0,0 0 0 0 0,0 0-1 0 0,0 0 1 0 0,0 1 0 0 0,0-1 0 0 0,0 0 0 0 0,0 0 0 0 0,0 0 0 0 0,-1 1 0 0 0,-21 56 846 0 0,-60 176 192 0 0,68-181-918 0 0,-13 104 0 0 0,27-141-115 0 0,1-12-22 0 0,-1 0-21 0 0,2-1-125 0 0,7 7-76 0 0,-9-9 212 0 0,0 0-1 0 0,1 0 0 0 0,-1 0 1 0 0,0 0-1 0 0,0 0 1 0 0,0 0-1 0 0,0 0 0 0 0,0 0 1 0 0,0 1-1 0 0,0-1 1 0 0,0 0-1 0 0,1 0 0 0 0,-1 0 1 0 0,0 0-1 0 0,0 0 1 0 0,0 0-1 0 0,0 0 0 0 0,0 0 1 0 0,0 0-1 0 0,1 0 1 0 0,-1 0-1 0 0,0 0 0 0 0,0 0 1 0 0,0 0-1 0 0,0 0 1 0 0,0 0-1 0 0,1 0 0 0 0,-1 0 1 0 0,0 0-1 0 0,0 0 1 0 0,0 0-1 0 0,0 0 0 0 0,0 0 1 0 0,0 0-1 0 0,1 0 1 0 0,2-1-361 0 0,-1 0-188 0 0,1 0-1 0 0,0 0 1 0 0,-1 0-1 0 0,1 0 1 0 0,-1 0-1 0 0,1-1 1 0 0,-1 0 0 0 0,0 1-1 0 0,3-3 1 0 0,-1 1-475 0 0,1-2-369 0 0,20-22-5986 0 0</inkml:trace>
</inkml:ink>
</file>

<file path=ppt/ink/ink2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3.39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 73 8 0 0,'-11'-13'0'0'0,"-6"-12"4797"0"0,15 25-4274 0 0,1-1-133 0 0,0 1 0 0 0,0 0 0 0 0,0 0 0 0 0,0 0 1 0 0,0-1-1 0 0,0 1 0 0 0,0 0 0 0 0,-1 0 0 0 0,1 1 0 0 0,0-1 0 0 0,0 0 0 0 0,-2 1 1 0 0,-4 2 1938 0 0,8-1-2015 0 0,2 9 306 0 0,0-11-299 0 0,22 2 292 0 0,-1-1 0 0 0,37-3 1 0 0,0-1-245 0 0,76-1-14 0 0,-46-3-293 0 0,63-18-14 0 0,-94 13-290 0 0,-58 12 76 0 0,1 0-63 0 0,-1 0 78 0 0,7 0-2760 0 0,-10 2 1997 0 0,-2 7-215 0 0,-27 4-9520 0 0,15-12 10390 0 0,-1-3 259 0 0</inkml:trace>
</inkml:ink>
</file>

<file path=ppt/ink/ink2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03.75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5 18 8 0 0,'-5'-15'4032'0'0,"-8"12"-1935"0"0,13 7-1730 0 0,-1 0 0 0 0,0-1 0 0 0,0 1-1 0 0,0-1 1 0 0,-3 6 0 0 0,-4 13 1529 0 0,-31 133 3004 0 0,5 6-3295 0 0,19-74-1528 0 0,-7 151 0 0 0,22-238-77 0 0,-1 21-18 0 0,1 0 0 0 0,1 0 0 0 0,1 0-1 0 0,5 28 1 0 0,-1-34-34 0 0,-4-12 42 0 0,-1 1-24 0 0,2-2-6 0 0,7 7-9 0 0,-8-6-18 0 0,13-3-240 0 0,-14 0 267 0 0,0 0-1 0 0,-1 0 0 0 0,1-1 0 0 0,-1 1 1 0 0,1 0-1 0 0,0 0 0 0 0,-1 0 1 0 0,1 0-1 0 0,-1 0 0 0 0,1-1 0 0 0,0 1 1 0 0,-1 0-1 0 0,1 0 0 0 0,-1-1 0 0 0,1 1 1 0 0,-1-1-1 0 0,1 1 0 0 0,-1 0 0 0 0,1-1 1 0 0,-1 1-1 0 0,1-1 0 0 0,0 0-156 0 0,4-3-1544 0 0,0 0 0 0 0,-1 0 1 0 0,1 0-1 0 0,4-6 0 0 0,-7 8 1126 0 0,14-20-5208 0 0</inkml:trace>
</inkml:ink>
</file>

<file path=ppt/ink/ink2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0:32.78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6 8 0 0,'0'0'9959'0'0,"2"-1"-9632"0"0,0 0-227 0 0,0 0 0 0 0,0 1-1 0 0,0-1 1 0 0,0 1 0 0 0,0-1 0 0 0,0 1-1 0 0,0 0 1 0 0,-1 0 0 0 0,1 0 0 0 0,0 0-1 0 0,3 0 1 0 0,23 8 449 0 0,-2-1-48 0 0,-13-3-660 0 0,-5-2 253 0 0,1 0 0 0 0,0 0-1 0 0,12 0 1 0 0,-14-1-1061 0 0,-1-2 0 0 0,1 1 1 0 0,-1-1-1 0 0,7-2 0 0 0,-10 3 124 0 0,3-1-263 0 0,15-8-4860 0 0</inkml:trace>
</inkml:ink>
</file>

<file path=ppt/ink/ink2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16.36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6 16 8 0 0,'-13'-2'4468'0'0,"12"5"-3720"0"0,-4 7 2315 0 0,6-8-2780 0 0,4 8 505 0 0,6-9-571 0 0,-9 0-71 0 0,0-2-92 0 0,6-4-12 0 0,-6 4 14 0 0,1-1-40 0 0,7-3-10 0 0,-7 3-12 0 0,-1 0-9 0 0,6-6-1 0 0,-6 6-1 0 0,-2 0-89 0 0,-2-7 81 0 0,1 7 9 0 0,-1 2-29 0 0,-25 2 41 0 0,25-2 10 0 0,-1 0 9 0 0,-5 2 1 0 0,6-1-1 0 0,0-1-5 0 0,-6 3 5 0 0,6-2 1 0 0,-11 8 8 0 0,10-7-16 0 0,1-1-1 0 0,-7 5-3 0 0,6-5 10 0 0,1 1 6 0 0,-6 8-9 0 0,6-8-3 0 0,1 1 4 0 0,-11 23 132 0 0,11-23-125 0 0,1-2-16 0 0,0 0 0 0 0,1 0 0 0 0,-1 0 0 0 0,0 0 0 0 0,0 0 0 0 0,0 0 0 0 0,0 0 0 0 0,0-1 0 0 0,-1 1 0 0 0,1 2 0 0 0,0-1 77 0 0,2-2-58 0 0,8 2-12 0 0,-5-2-4 0 0,31-22-517 0 0,-33 21 245 0 0,0-1-58 0 0,9-8-48 0 0,-9 8-52 0 0,5-4 126 0 0,-23 34-7659 0 0</inkml:trace>
</inkml:ink>
</file>

<file path=ppt/ink/ink2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6.87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 0 8 0 0,'1'3'632'0'0,"1"13"778"0"0,0 0 0 0 0,-1 0-1 0 0,-1 25 1 0 0,1 1 813 0 0,2 138 1779 0 0,-9 91-2451 0 0,3-201-337 0 0,-20 116 1786 0 0,24-189-2902 0 0,2-8-79 0 0,15-42-865 0 0,-9 22-3050 0 0,-2 3-7139 0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7.89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1 1 4497 0 0,'-19'17'4300'0'0,"4"-1"-3531"0"0,8-7-347 0 0,0 1-1 0 0,1 0 1 0 0,0 0-1 0 0,-7 16 1 0 0,-12 44 1263 0 0,19-49-1574 0 0,1 0 0 0 0,1 1 0 0 0,1-1 0 0 0,-1 24 1 0 0,3-7-98 0 0,7 56 0 0 0,-5-82 35 0 0,2 1 1 0 0,-1 0-1 0 0,9 23 0 0 0,-7-31 35 0 0,6 4 22 0 0,-10-9-102 0 0,0 1 0 0 0,0-1 0 0 0,0 0 0 0 0,0 0 0 0 0,1 0 0 0 0,-1 0 0 0 0,0 0 0 0 0,0 1 0 0 0,0-1 0 0 0,1 0 0 0 0,-1 0 0 0 0,0 0 0 0 0,0 0 0 0 0,0 0 0 0 0,1 0 0 0 0,-1 0 0 0 0,0 0 0 0 0,0 0 0 0 0,0 0 0 0 0,1 0 0 0 0,-1 0 0 0 0,0 0 0 0 0,0 0 0 0 0,1 0 0 0 0,-1 0 0 0 0,0 0 0 0 0,12-1 114 0 0,-5-2 6 0 0,2-5-66 0 0,-1 0 0 0 0,0-1 0 0 0,0 0 0 0 0,0 0 0 0 0,5-11 0 0 0,33-58 63 0 0,-24 39-83 0 0,40-64 74 0 0,-45 76-62 0 0,36-39 0 0 0,-52 64-41 0 0,0 1 0 0 0,1-1 0 0 0,-1 1 0 0 0,0 0 0 0 0,1-1 0 0 0,-1 1 0 0 0,1 0 1 0 0,2-1-1 0 0,0-1 13 0 0,-3 3-6 0 0,0-1 0 0 0,-1 1 0 0 0,1-1 0 0 0,0 1 0 0 0,-1-1 0 0 0,1 1 0 0 0,0-1 0 0 0,0 1 0 0 0,-1-1 0 0 0,1 1 0 0 0,0 0 0 0 0,0-1 0 0 0,0 1-1 0 0,0 0 1 0 0,-1 0 0 0 0,1 0 0 0 0,1 0 0 0 0,-1 0 51 0 0,1 2 115 0 0,-1 3-94 0 0,0-1-1 0 0,1 0 0 0 0,-2 1 0 0 0,1-1 0 0 0,0 1 0 0 0,-1-1 1 0 0,0 1-1 0 0,0 7 0 0 0,-8 41 415 0 0,6-37-299 0 0,-2 10 170 0 0,1-1 1 0 0,2 1-1 0 0,1 32 0 0 0,1-45-340 0 0,1 0 0 0 0,0 0-1 0 0,1 0 1 0 0,0-1 0 0 0,1 1-1 0 0,0-1 1 0 0,1 0-1 0 0,9 16 1 0 0,-5-15-13 0 0,4 0-25 0 0,-12-12-3 0 0,-1 0 0 0 0,1-1 1 0 0,0 1-1 0 0,-1-1 0 0 0,1 1 0 0 0,0-1 1 0 0,-1 1-1 0 0,1-1 0 0 0,0 1 0 0 0,0-1 1 0 0,-1 0-1 0 0,1 1 0 0 0,0-1 0 0 0,0 0 1 0 0,0 0-1 0 0,0 0 0 0 0,-1 1 0 0 0,3-1 1 0 0,-1 0-37 0 0,4 0-191 0 0,-3 0 117 0 0,-2 0 71 0 0,0 0-1 0 0,-1 0 0 0 0,1 0 0 0 0,0 0 0 0 0,0 0 1 0 0,0 0-1 0 0,0-1 0 0 0,-1 1 0 0 0,1 0 1 0 0,0 0-1 0 0,0-1 0 0 0,-1 1 0 0 0,1 0 1 0 0,0-1-1 0 0,0 1 0 0 0,-1-1 0 0 0,1 1 1 0 0,1-2-1 0 0,1 0-239 0 0,-1 1 118 0 0,-1 0 1 0 0,1 0 0 0 0,-1 1-1 0 0,0-1 1 0 0,0 0-1 0 0,0 0 1 0 0,1-1-1 0 0,-1 1 1 0 0,0 0-1 0 0,0 0 1 0 0,1-3-1 0 0,14-17-2493 0 0,12-20-6874 0 0,-18 25 6171 0 0</inkml:trace>
</inkml:ink>
</file>

<file path=ppt/ink/ink2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7.23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 107 8 0 0,'-29'-12'14244'0'0,"32"10"-13749"0"0,6-6-8 0 0,-9 7-463 0 0,0 1 0 0 0,1 0-1 0 0,-1 0 1 0 0,0-1 0 0 0,0 1 0 0 0,1 0 0 0 0,-1 0-1 0 0,0 0 1 0 0,1 0 0 0 0,-1-1 0 0 0,0 1 0 0 0,0 0-1 0 0,1 0 1 0 0,-1 0 0 0 0,0 0 0 0 0,1 0 0 0 0,-1 0-1 0 0,0 0 1 0 0,1 0 0 0 0,46-5 1085 0 0,-1 1 7 0 0,52-12 0 0 0,-81 12-1487 0 0,136-29 1114 0 0,-102 23-4477 0 0,1 3-5207 0 0,-35 5 2201 0 0</inkml:trace>
</inkml:ink>
</file>

<file path=ppt/ink/ink2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8.8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 19 8 0 0,'-5'12'7564'0'0,"17"-13"-4452"0"0,-10-1-2471 0 0,8-4-70 0 0,-8 4 332 0 0,0 0-574 0 0,8-5-69 0 0,-8 5 55 0 0,-1 2-304 0 0,-1 0 0 0 0,1-1 0 0 0,0 1 0 0 0,0 0 0 0 0,-1-1 1 0 0,1 1-1 0 0,0 0 0 0 0,-1-1 0 0 0,1 1 0 0 0,0-1 0 0 0,-1 0 0 0 0,2 0 0 0 0,-2 0 6 0 0,2 0 42 0 0</inkml:trace>
</inkml:ink>
</file>

<file path=ppt/ink/ink2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9.2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53 45 8 0 0,'-15'-17'4481'0'0,"3"5"-718"0"0,10 10-3569 0 0,0 1-1 0 0,1-1 1 0 0,-1 1-1 0 0,0 0 1 0 0,0-1-1 0 0,0 1 1 0 0,0 0-1 0 0,0 1 0 0 0,0-1 1 0 0,-1 0-1 0 0,1 1 1 0 0,0-1-1 0 0,0 1 1 0 0,0-1-1 0 0,-1 1 1 0 0,1 0-1 0 0,-4 0 1 0 0,1 2-69 0 0,-1 0 1 0 0,1 0 0 0 0,-1 0 0 0 0,1 1 0 0 0,0-1 0 0 0,0 1 0 0 0,0 1 0 0 0,0-1 0 0 0,1 1 0 0 0,-8 6 0 0 0,-6 9 158 0 0,5-5-16 0 0,1 0 1 0 0,0 1-1 0 0,1 1 0 0 0,1 0 1 0 0,-15 29-1 0 0,21-36-101 0 0,0 0-1 0 0,1 1 1 0 0,1-1-1 0 0,-1 0 1 0 0,2 1 0 0 0,-1 0-1 0 0,1-1 1 0 0,1 1-1 0 0,-1 0 1 0 0,2-1 0 0 0,-1 1-1 0 0,1 0 1 0 0,4 15-1 0 0,0-10-32 0 0,0-1 0 0 0,1 0 0 0 0,9 17 0 0 0,-14-29-120 0 0,0 0 0 0 0,0 0 0 0 0,0 0-1 0 0,1 0 1 0 0,-1-1 0 0 0,3 4-1 0 0,0-2 8 0 0,-3-1-13 0 0,-1-1 1 0 0,1 0-1 0 0,0 0 1 0 0,0 0 0 0 0,0 0-1 0 0,0 0 1 0 0,0 0 0 0 0,0 0-1 0 0,1 0 1 0 0,-1-1 0 0 0,0 1-1 0 0,2 1 1 0 0,1 0 12 0 0,1 2 33 0 0,-4-4-49 0 0,0 1 0 0 0,0 0 0 0 0,0-1 0 0 0,0 1 1 0 0,0 0-1 0 0,0-1 0 0 0,0 1 0 0 0,0-1 0 0 0,0 0 1 0 0,3 1-1 0 0,4 1 55 0 0,27 5 22 0 0,-30-6-93 0 0,1-1 0 0 0,-1 0-1 0 0,1 0 1 0 0,-1-1 0 0 0,1 0 0 0 0,9-2-1 0 0,28-13-1464 0 0,-1-4-4019 0 0,-14 6-1151 0 0,-12 6 1965 0 0</inkml:trace>
</inkml:ink>
</file>

<file path=ppt/ink/ink2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8:59.6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 123 8 0 0,'-14'9'14567'0'0,"15"-11"-14183"0"0,5-6-12 0 0,1 0 0 0 0,-1 1-1 0 0,1 0 1 0 0,13-11 0 0 0,-8 8-245 0 0,2-4 9 0 0,2 1 0 0 0,29-19 0 0 0,-43 31-123 0 0,0-1 9 0 0,9-4-1 0 0,-9 4 27 0 0,0 2-37 0 0,7-1-3 0 0,-7 1 24 0 0,-2 0-32 0 0,0 0 1 0 0,0 0 0 0 0,0 1-1 0 0,0-1 1 0 0,0 0-1 0 0,0 1 1 0 0,0-1 0 0 0,0 0-1 0 0,0 1 1 0 0,0-1-1 0 0,0 0 1 0 0,0 0 0 0 0,0 1-1 0 0,1-1 1 0 0,-1 0 0 0 0,0 0-1 0 0,0 1 1 0 0,0-1-1 0 0,0 0 1 0 0,1 0 0 0 0,-1 1-1 0 0,0-1 1 0 0,1 0-1 0 0,-1 1 3 0 0,1-1-1 0 0,-1 1 0 0 0,1-1 0 0 0,-1 1 0 0 0,1-1 0 0 0,-1 1 0 0 0,0-1 0 0 0,1 1 1 0 0,-1 0-1 0 0,0-1 0 0 0,1 1 0 0 0,-1-1 0 0 0,0 1 0 0 0,1 1 0 0 0,0 1 2 0 0,-1-3-2 0 0,1 1-1 0 0,-1 0 1 0 0,0 0 0 0 0,1 0 0 0 0,-1 0-1 0 0,0 0 1 0 0,0 0 0 0 0,0 0-1 0 0,0 0 1 0 0,0 0 0 0 0,0 1-1 0 0,0 14 13 0 0,-1-1 0 0 0,0 1 0 0 0,-2-1 0 0 0,-6 26 0 0 0,1-9-10 0 0,-8 39-35 0 0,-4 14 98 0 0,20-82-97 0 0</inkml:trace>
</inkml:ink>
</file>

<file path=ppt/ink/ink2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2.02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 10 8 0 0,'-13'-10'7042'0'0,"0"12"-5483"0"0,11-1-1358 0 0,-10 7 2665 0 0,12-6-2678 0 0,1 7-19 0 0,0-7 454 0 0,-1 0-590 0 0,4 6-6 0 0,-3-6 26 0 0,0 0-34 0 0,3 7 1 0 0,-3-7 5 0 0,0 0-15 0 0,2 7-2 0 0,-2-6 0 0 0,0-1 0 0 0,47 176 781 0 0,-38-141-651 0 0,21 73 83 0 0,-14-54-132 0 0,-2 0 1 0 0,9 71-1 0 0,-19-66 130 0 0,-1 0 0 0 0,-4 0 0 0 0,-10 88 0 0 0,-7-39 505 0 0,12-87-299 0 0,-1-1-1 0 0,-15 39 0 0 0,18-54-247 0 0,0-1-1 0 0,0 1 1 0 0,-1-1 0 0 0,1 0 0 0 0,-1 0 0 0 0,-1 0 0 0 0,-4 5 0 0 0,0-2 8 0 0,6-7-12 0 0,0 0-17 0 0,-8 4-25 0 0,9-4 6 0 0,-1-2-11 0 0,-8 0-27 0 0,8 0 49 0 0,1-1-111 0 0,-2-2-28 0 0,1 1 0 0 0,0-1 0 0 0,0 0 0 0 0,-4-5 0 0 0,5 6-30 0 0,1-1-51 0 0,0 3-35 0 0,0-1 23 0 0,1 0-1 0 0,-1 1 0 0 0,1-1 1 0 0,-1 0-1 0 0,1 1 0 0 0,-1-1 1 0 0,1 0-1 0 0,0 1 0 0 0,-1-1 1 0 0,1 0-1 0 0,0 0 1 0 0,-1-1-1 0 0,2-9-1247 0 0,12 7-3380 0 0,2 0-1366 0 0,-6 3 2593 0 0,6 0 592 0 0</inkml:trace>
</inkml:ink>
</file>

<file path=ppt/ink/ink2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4.16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46 8 0 0,'0'0'9271'0'0,"2"2"-9105"0"0,8 7 231 0 0,1-8 51 0 0,12 1 465 0 0,0-1 0 0 0,0-1 1 0 0,32-5-1 0 0,64-19 814 0 0,-80 13-1402 0 0,8-3-101 0 0,-45 13-186 0 0,-1 1-35 0 0,0 0 0 0 0,0-1 0 0 0,0 1 0 0 0,-1 0 0 0 0,1 0 0 0 0,0 0 0 0 0,0-1 0 0 0,0 1 0 0 0,-1 0 0 0 0,1-1 0 0 0,1 0 0 0 0,0 0 2 0 0,0 0 0 0 0,-12 3-1628 0 0,8-1 1161 0 0,0-1-113 0 0,-8 3-315 0 0,-15 2-7939 0 0,19-4 7415 0 0,-11 1-1088 0 0</inkml:trace>
</inkml:ink>
</file>

<file path=ppt/ink/ink2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4.58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5 30 8 0 0,'-2'-14'0'0'0,"2"-1"4304"0"0,-2 16-3922 0 0,0 1-233 0 0,1-1-1 0 0,-1 0 0 0 0,1 0 1 0 0,0 1-1 0 0,-1-1 1 0 0,1 1-1 0 0,0 0 0 0 0,0-1 1 0 0,0 1-1 0 0,0 0 0 0 0,0-1 1 0 0,0 1-1 0 0,1 0 0 0 0,-1 0 1 0 0,0 3-1 0 0,-14 54 3425 0 0,-14 113 0 0 0,21 55-2122 0 0,9-216-1540 0 0,0 0 1 0 0,3 14-1 0 0,-3-23-359 0 0,2 10-2945 0 0</inkml:trace>
</inkml:ink>
</file>

<file path=ppt/ink/ink2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4.94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7 1 8 0 0,'-13'7'0'0'0,"2"5"0"0"0,9-8 303 0 0,0 0 1 0 0,1 0-1 0 0,-1 1 1 0 0,1-1-1 0 0,0 0 1 0 0,0 1-1 0 0,0-1 1 0 0,1 0-1 0 0,0 1 0 0 0,0-1 1 0 0,0 1-1 0 0,1 5 1 0 0,-1 7 460 0 0,4 105 5086 0 0,-1-54-3887 0 0,-7 87 1 0 0,1-130-1702 0 0,-1 1-1 0 0,-1-1 1 0 0,-1 0 0 0 0,-1 0 0 0 0,-1-1-1 0 0,-20 41 1 0 0,27-62-231 0 0,-3-20-6998 0 0,4 9 4800 0 0,2 3 1352 0 0,2-14-3466 0 0,3-14 2162 0 0,-4 20 2119 0 0</inkml:trace>
</inkml:ink>
</file>

<file path=ppt/ink/ink2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5.31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 173 8 0 0,'-10'-19'2669'0'0,"10"16"-2121"0"0,-1-7 3082 0 0,3 7-2498 0 0,4-3-532 0 0,0 1-1 0 0,0-1 1 0 0,1 1 0 0 0,-1 0 0 0 0,1 0-1 0 0,1 1 1 0 0,-1 0 0 0 0,1 0 0 0 0,13-5-1 0 0,33-13 449 0 0,71-27-741 0 0,-70 36-2439 0 0,-51 13 1453 0 0,-1 0 0 0 0,1 0 0 0 0,-1 0 0 0 0,1 0 0 0 0,-1 0 0 0 0,1 1 0 0 0,-1-1 0 0 0,5 2 0 0 0,-7-2 486 0 0,0 1-33 0 0,0-1 1 0 0,-1 0-1 0 0,1 0 1 0 0,0 0-1 0 0,-1 1 1 0 0,1-1-1 0 0,0 0 1 0 0,-1 1-1 0 0,1-1 1 0 0,0 0-1 0 0,-1 1 1 0 0,1-1-1 0 0,-1 1 1 0 0,1-1-1 0 0,-1 1 1 0 0,1-1-1 0 0,0 2 1 0 0,0-1-489 0 0,10 15-1408 0 0</inkml:trace>
</inkml:ink>
</file>

<file path=ppt/ink/ink2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5.69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5 7 8 0 0,'-25'22'3127'0'0,"13"-11"1969"0"0,14-12-4606 0 0,16-8 663 0 0,0 1 1 0 0,1 1 0 0 0,22-6 0 0 0,-35 12-976 0 0,-1 1-1 0 0,0-1 1 0 0,0 1 0 0 0,1 1-1 0 0,8 0 1 0 0,-12 0-42 0 0,0 2-8 0 0,3 9-4 0 0,-3-6 8 0 0,-2-2-88 0 0,0-2-20 0 0,0-1 1 0 0,0 1-1 0 0,0 0 0 0 0,0-1 1 0 0,0 1-1 0 0,-1-1 1 0 0,1 1-1 0 0,0-1 1 0 0,-2 3-1 0 0,-4 14 74 0 0,0-1 1 0 0,-2 0 0 0 0,0 0-1 0 0,-13 20 1 0 0,-49 65 230 0 0,38-57 319 0 0,-32 41 2243 0 0,55-72-2224 0 0,8-12-151 0 0,1-2-505 0 0,1 0 1 0 0,-1 0 0 0 0,0 0-1 0 0,0 0 1 0 0,1 0 0 0 0,-1 1-1 0 0,0-1 1 0 0,0 0 0 0 0,1 0-1 0 0,-1 0 1 0 0,0 0 0 0 0,0 0-1 0 0,1 0 1 0 0,-1 0-1 0 0,0 0 1 0 0,0 1 0 0 0,0-1-1 0 0,1 0 1 0 0,-1 0 0 0 0,0 0-1 0 0,0 0 1 0 0,0 1 0 0 0,1-1-1 0 0,-1 0 1 0 0,0 0 0 0 0,0 1-1 0 0,0-1 1 0 0,0 0-4 0 0,1 1 0 0 0,-1-1 0 0 0,0 0 0 0 0,0 1 0 0 0,1-1 0 0 0,-1 0 0 0 0,0 1 0 0 0,1-1 0 0 0,-1 0 0 0 0,0 0 0 0 0,0 1 0 0 0,1-1 0 0 0,-1 0 0 0 0,1 0 0 0 0,-1 0 0 0 0,0 0 0 0 0,1 1 0 0 0,-1-1-1 0 0,0 0 1 0 0,1 0 0 0 0,-1 0 0 0 0,1 0 0 0 0,-1 0 0 0 0,0 0 0 0 0,1 0 0 0 0,-1 0 0 0 0,1 0 0 0 0,-1 0 0 0 0,1 0 0 0 0,32-5 163 0 0,0-1-1 0 0,33-10 0 0 0,6-1-439 0 0,-30 7-425 0 0,8-1-5074 0 0,-8 4-5825 0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8.52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3 0 6849 0 0,'-4'1'191'0'0,"0"0"0"0"0,0 0 0 0 0,1 0 0 0 0,-1 1 0 0 0,0-1 0 0 0,1 1-1 0 0,-1 0 1 0 0,-4 4 0 0 0,2-2 127 0 0,1 0-1 0 0,0 1 0 0 0,0-1 1 0 0,1 1-1 0 0,-1 1 0 0 0,1-1 1 0 0,-7 12-1 0 0,3-2 356 0 0,-12 30 0 0 0,11-16-644 0 0,1 0 0 0 0,1 0 0 0 0,1 1 0 0 0,-2 44 0 0 0,5 122-461 0 0,13 45-1474 0 0,0 33-957 0 0,-14-233 3455 0 0,4-38-68 0 0,-1-6-680 0 0,-5-26-1347 0 0,6 17 649 0 0,0 0 0 0 0,0 0 0 0 0,1 0 0 0 0,1 0-1 0 0,5-23 1 0 0,-2 20 987 0 0,0 1 0 0 0,1-1-1 0 0,12-20 1 0 0,-17 32 14 0 0,0 1 0 0 0,0 0-1 0 0,0 0 1 0 0,1 0 0 0 0,-1 0-1 0 0,4-3 1 0 0,-1 2 81 0 0,-3 1-114 0 0,0 0-1 0 0,0 1 1 0 0,0-1 0 0 0,1 1 0 0 0,-1 0-1 0 0,1-1 1 0 0,-1 1 0 0 0,1 0-1 0 0,-1 0 1 0 0,4-1 0 0 0,-1-1 135 0 0,29-19 1977 0 0,-1 0-818 0 0,36-27 1916 0 0,-57 40-2700 0 0,0-1 0 0 0,0 0 0 0 0,16-21 0 0 0,-20 21-544 0 0,0 0 0 0 0,0 0 0 0 0,-1-1 0 0 0,-1 0 1 0 0,0 0-1 0 0,0-1 0 0 0,-1 1 0 0 0,0-1 0 0 0,-1 0 0 0 0,-1 0 0 0 0,0 0 0 0 0,1-17 0 0 0,-3 28-80 0 0,0 0 1 0 0,0 0 0 0 0,0 0 0 0 0,0 0 0 0 0,0 0-1 0 0,-1 0 1 0 0,1 0 0 0 0,0 0 0 0 0,-1 0 0 0 0,1 0-1 0 0,0 0 1 0 0,-1-2 0 0 0,-1 1-5 0 0,-1-3-17 0 0,2 4 17 0 0,0 0-4 0 0,0 1-1 0 0,0-1 1 0 0,0 0 0 0 0,0 0-1 0 0,0 1 1 0 0,0-1 0 0 0,-1 0-1 0 0,1 1 1 0 0,0-1 0 0 0,0 1 0 0 0,-1-1-1 0 0,1 1 1 0 0,0 0 0 0 0,-1 0-1 0 0,1 0 1 0 0,0-1 0 0 0,-1 1-1 0 0,1 0 1 0 0,0 1 0 0 0,-1-1 0 0 0,-1 0-1 0 0,-2 1-6 0 0,3 0 8 0 0,-1-1 0 0 0,1 1 0 0 0,0 0 0 0 0,-1-1 0 0 0,1 1 0 0 0,0 0-1 0 0,-1 1 1 0 0,1-1 0 0 0,0 0 0 0 0,-3 3 0 0 0,0-1 6 0 0,-13 12 19 0 0,13-11-3 0 0,-1 2 47 0 0,0-1-1 0 0,1 1 1 0 0,0 0-1 0 0,-1 0 1 0 0,2 1-1 0 0,-9 13 1 0 0,12-18-45 0 0,0 0 19 0 0,0 0 1 0 0,0 0-1 0 0,0 0 0 0 0,0 0 1 0 0,0 1-1 0 0,0-1 0 0 0,1 0 0 0 0,-1 1 1 0 0,1-1-1 0 0,-1 0 0 0 0,1 1 0 0 0,0-1 1 0 0,0 0-1 0 0,0 4 0 0 0,12 27 447 0 0,-7-22-307 0 0,2 1-83 0 0,-2-8-23 0 0,-3 0-48 0 0,-1-2-12 0 0,0 0 0 0 0,1-1 0 0 0,-1 1 0 0 0,1-1 0 0 0,-1 1 0 0 0,1-1 0 0 0,1 2 0 0 0,0 0-1 0 0,-1-1-6 0 0,-1-1 1 0 0,1 1-1 0 0,0-1 1 0 0,-1 0 0 0 0,1 1-1 0 0,4 1 1 0 0,4 2-27 0 0,1 0 0 0 0,0 0 0 0 0,1-1 0 0 0,-1 0 0 0 0,1-1 0 0 0,-1-1 0 0 0,1 0 0 0 0,0 0 0 0 0,18-1 0 0 0,-11-1-51 0 0,-1 0-1 0 0,1-2 1 0 0,-1 0-1 0 0,0-1 1 0 0,32-10 0 0 0,13-12-41 0 0,-61 24 106 0 0,9 1-5 0 0,-9 0 40 0 0,-2 2 14 0 0,1 2 39 0 0,-1 0 0 0 0,-1 0 1 0 0,1 0-1 0 0,0 0 1 0 0,-1 0-1 0 0,0 0 1 0 0,0 0-1 0 0,0 0 1 0 0,0 0-1 0 0,-1-1 1 0 0,-2 6-1 0 0,-2 6 228 0 0,-18 52 993 0 0,23-64-1203 0 0,-2 4 110 0 0,7-8 75 0 0,6-11-146 0 0,18-38-96 0 0,-18 32-55 0 0,12-18-1 0 0,0 5-96 0 0,47-61 128 0 0,-60 81-505 0 0,1 0 1 0 0,0 1 0 0 0,1 1-1 0 0,0 0 1 0 0,23-15 0 0 0,-30 22-166 0 0,-1 1 0 0 0,1-1 1 0 0,0 1-1 0 0,0 0 0 0 0,7-2 1 0 0,-6 2-1317 0 0,1 1 0 0 0,-1-1-1 0 0,11 2 1 0 0,-1 1-2932 0 0</inkml:trace>
</inkml:ink>
</file>

<file path=ppt/ink/ink2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7.0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3 33 8 0 0,'-10'-13'0'0'0,"-2"1"0"0"0,10 11 0 0 0,1 0 0 0 0,0 0 0 0 0,0 0 0 0 0,0 1 0 0 0,-1-1 0 0 0,1 1 0 0 0,0-1 0 0 0,-1 1 0 0 0,-1-1 0 0 0,2 1 0 0 0,0 0 0 0 0,0 0 0 0 0,0 0 0 0 0,0 0 0 0 0,0 0 0 0 0,0 0 0 0 0,0 0 0 0 0,0 1 0 0 0,0-1 0 0 0,0 0 0 0 0,0 1 0 0 0,-1 0 0 0 0,-10 9 0 0 0,3 2 0 0 0,0 3 913 0 0,1 0-1 0 0,0 1 1 0 0,-9 28-1 0 0,15-38-769 0 0,-25 90 4523 0 0,0 51-2112 0 0,25-132-2399 0 0,-3 17-63 0 0,2 0 0 0 0,1 0 1 0 0,2 0-1 0 0,1 0 0 0 0,1 0 1 0 0,2 0-1 0 0,10 44 1 0 0,-10-64-218 0 0,1 1 1 0 0,-1-1 0 0 0,2 0 0 0 0,0 0 0 0 0,0-1 0 0 0,1 1-1 0 0,15 17 1 0 0,-15-21-673 0 0,1 0-1 0 0,0 0 1 0 0,17 12 0 0 0,-18-15-454 0 0,0-1 1 0 0,1 0-1 0 0,0 0 1 0 0,-1 0 0 0 0,14 3-1 0 0,-6-3 1030 0 0</inkml:trace>
</inkml:ink>
</file>

<file path=ppt/ink/ink2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7.56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9 460 8 0 0,'-18'8'9952'0'0,"18"-8"-9906"0"0,4-7 1576 0 0,19-20-890 0 0,3-4-213 0 0,79-95 370 0 0,-22 28-754 0 0,-47 54-114 0 0,68-65 1 0 0,-95 99-72 0 0,-7 9 38 0 0,-1 0-1 0 0,1-1 1 0 0,0 1 0 0 0,-1 0 0 0 0,1 0 0 0 0,0 0 0 0 0,2-1 0 0 0,-3 1-30 0 0,-1 0 13 0 0,1 1-1 0 0,0-1 1 0 0,-1 1-1 0 0,1 0 1 0 0,-1-1 0 0 0,1 1-1 0 0,0 0 1 0 0,-1-1-1 0 0,1 1 1 0 0,0 0 0 0 0,-1-1-1 0 0,2 1 1 0 0,-1 3-51 0 0,2 8 22 0 0,-4-5 16 0 0,-52 110 92 0 0,12-32 573 0 0,33-65-396 0 0,-71 172 2171 0 0,72-169-2071 0 0,-9 41 1 0 0,16-60 5 0 0,2-1-292 0 0,-2-2-36 0 0,1 1-2 0 0,-1-1 0 0 0,1 1 0 0 0,0 0 1 0 0,-1-1-1 0 0,1 1 0 0 0,0 0 0 0 0,-1-1 0 0 0,1 1 1 0 0,0-1-1 0 0,0 1 0 0 0,1 0 0 0 0,1-3-55 0 0,6-8-72 0 0,-7 8-132 0 0,0-1-187 0 0,10-23-4866 0 0</inkml:trace>
</inkml:ink>
</file>

<file path=ppt/ink/ink2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8.10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 24 8 0 0,'-12'8'10026'0'0,"14"-6"-9439"0"0,8 3-30 0 0,-7-3-10 0 0,-1-2-23 0 0,6 1-72 0 0,0 0-1 0 0,0-1 1 0 0,0 0-1 0 0,0 0 1 0 0,0-1-1 0 0,0 0 1 0 0,12-3-1 0 0,4-1-133 0 0,94-18 424 0 0,-75 15-621 0 0,-41 7-114 0 0,-2 3-602 0 0,0-2 588 0 0,1 0 0 0 0,-1 1 0 0 0,0-1 1 0 0,0 0-1 0 0,0 1 0 0 0,0-1 0 0 0,0 0 0 0 0,0 0 1 0 0,1 1-1 0 0,-1-1 0 0 0,0 0 0 0 0,0 0 1 0 0,0 0-1 0 0,1 1 0 0 0,-1-1 0 0 0,0 0 0 0 0,0 0 1 0 0,1 0-1 0 0,-1 1 0 0 0,-6 13-6249 0 0</inkml:trace>
</inkml:ink>
</file>

<file path=ppt/ink/ink2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8.49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4 0 8 0 0,'-2'1'2091'0'0,"-11"5"1721"0"0,7-1-3036 0 0,1 0 1 0 0,-1 1-1 0 0,1-1 1 0 0,0 2 0 0 0,-4 6-1 0 0,-7 17 831 0 0,10-19-1204 0 0,2 0-1 0 0,0 1 1 0 0,0-1-1 0 0,-3 23 1 0 0,-1 46 507 0 0,4-39-580 0 0,4-35-312 0 0,-21 182 398 0 0,-15-2-155 0 0,3-70 203 0 0,32-113-361 0 0,-1-1-3 0 0,-5 9-18 0 0,6-9-38 0 0,1-5-1302 0 0,-1 3 1215 0 0,1-1 1 0 0,0 1-1 0 0,0 0 1 0 0,0 0-1 0 0,0-1 1 0 0,0 1-1 0 0,-1 0 1 0 0,1 0-1 0 0,0-1 1 0 0,0 1-1 0 0,0 0 1 0 0,-1 0-1 0 0,1 0 1 0 0,0-1-1 0 0,-1 1 1 0 0,1 0-32 0 0,-1 0 0 0 0,1-1 0 0 0,0 1 1 0 0,-1 0-1 0 0,1-1 0 0 0,0 1 0 0 0,0 0 1 0 0,-1-1-1 0 0,1 1 0 0 0,0-1 0 0 0,0 1 0 0 0,-1 0 1 0 0,1-1-1 0 0,0 1 0 0 0,0-1 0 0 0,0 1 0 0 0,0-1 1 0 0,-1 1-1 0 0,1-1 0 0 0,0 1 0 0 0,0 0 1 0 0,0-1-1 0 0,0 1 0 0 0,0-1 0 0 0,1 0 0 0 0,1-66-12452 0 0,0 52 11999 0 0</inkml:trace>
</inkml:ink>
</file>

<file path=ppt/ink/ink2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08.81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109 8 0 0,'1'-3'7375'0'0,"4"-6"-5517"0"0,-1 6-297 0 0,51-17 2737 0 0,36-5-2030 0 0,109-8-665 0 0,-64 23-8323 0 0,-95 6-4681 0 0,-28 2 10559 0 0</inkml:trace>
</inkml:ink>
</file>

<file path=ppt/ink/ink2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0.79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0 3 8 0 0,'-10'-2'1494'0'0,"16"12"1359"0"0,5 5-1060 0 0,5 16-726 0 0,-4-11-268 0 0,17 32 613 0 0,-19-30-1156 0 0,-1-1-1 0 0,-1 1 1 0 0,-1 1 0 0 0,-1-1 0 0 0,0 1-1 0 0,-2 0 1 0 0,1 28 0 0 0,-3 9 20 0 0,-4-1 0 0 0,-13 97-1 0 0,-45 113 1353 0 0,47-229-536 0 0,-28 60-1 0 0,30-80-497 0 0,8-17 616 0 0,2-5-1202 0 0,-3-7-102 0 0,3 3-149 0 0,18-46-3562 0 0,-11 37 64 0 0,2 1-2053 0 0,0-4 2266 0 0,-2 4 2819 0 0</inkml:trace>
</inkml:ink>
</file>

<file path=ppt/ink/ink2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9:11.2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6 20 8 0 0,'-5'0'778'0'0,"0"0"0"0"0,-1 1 0 0 0,-8 2 2106 0 0,11-2-2278 0 0,-7 6-246 0 0,8-6-40 0 0,0 2-256 0 0,-6 6-17 0 0,7-7 2 0 0,0 0-41 0 0,-1 9-71 0 0,2-11 61 0 0,1 0 0 0 0,-1-1 1 0 0,0 1-1 0 0,1 0 0 0 0,-1 0 0 0 0,0 0 0 0 0,1 0 0 0 0,-1 0 0 0 0,1 0 0 0 0,-1 0 0 0 0,1 0 0 0 0,-1 0 0 0 0,0 0 0 0 0,1 1 0 0 0,-1-1 0 0 0,0 0 0 0 0,1 0 0 0 0,-1 0 0 0 0,1 1 0 0 0,6 1-61 0 0,-5-4 56 0 0,8-6 16 0 0,-10 8-6 0 0,1-1-1 0 0,0 1 1 0 0,-1-1-1 0 0,1 1 1 0 0,-1-1-1 0 0,1 0 1 0 0,0 1-1 0 0,-1-1 1 0 0,0 0-1 0 0,1 1 1 0 0,-1-1-1 0 0,1 0 1 0 0,-1 0-1 0 0,0 0 1 0 0,1 1-1 0 0,-1-1 1 0 0,0-1-1 0 0,1 0 7 0 0,0-1 27 0 0,0 0 20 0 0,0 1-38 0 0,1-8 192 0 0,-2 7-53 0 0,-1-8 1317 0 0,-8 7-974 0 0,8 3-413 0 0,-1 0 409 0 0,-1 2-287 0 0,-20 12 423 0 0,21-12-473 0 0,0 2-124 0 0,-1 1-31 0 0,0 0 1 0 0,0 0 0 0 0,-2 7-1 0 0,4-9-22 0 0,1 9-57 0 0,0-9-10 0 0,1 0-461 0 0,3 6-22 0 0,-3-6-271 0 0</inkml:trace>
</inkml:ink>
</file>

<file path=ppt/ink/ink2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26.28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8 52 8 0 0,'3'-13'0'0'0,"-1"1"61"0"0,-6-13 6123 0 0,-8 24-5941 0 0,10 0 112 0 0,0 4-154 0 0,-8 6 10 0 0,8-7-10 0 0,0 1-7 0 0,-3 3-108 0 0,-2 2 208 0 0,0 0 0 0 0,-10 16 0 0 0,-1 9 154 0 0,3-7-160 0 0,2 1-1 0 0,0 0 1 0 0,2 2 0 0 0,1-1-1 0 0,2 1 1 0 0,-9 47 0 0 0,14-55-187 0 0,0-1 0 0 0,2 1 0 0 0,0 0 0 0 0,2 0 0 0 0,3 27 0 0 0,-2-35-104 0 0,1 1 0 0 0,0-1 0 0 0,1 1-1 0 0,0-1 1 0 0,1 0 0 0 0,1 0 0 0 0,0-1-1 0 0,15 23 1 0 0,-6-16-1196 0 0,22 24 1 0 0,-22-29-2806 0 0,31 25 0 0 0,-25-25 2752 0 0</inkml:trace>
</inkml:ink>
</file>

<file path=ppt/ink/ink2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3.68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 13 1208 0 0,'-3'9'11270'0'0,"6"-7"-12344"0"0,-3-1 1110 0 0,1-1 0 0 0,-1 0 0 0 0,1 1 0 0 0,-1-1 0 0 0,1 0 0 0 0,-1 0 0 0 0,1 1 0 0 0,-1-1 0 0 0,1 0 0 0 0,-1 0 0 0 0,1 0 0 0 0,-1 0 0 0 0,1 0 0 0 0,0 0 0 0 0,-1 0 0 0 0,1 0-1 0 0,-1 0 1 0 0,1 0 0 0 0,-1 0 0 0 0,2 0 0 0 0,-1 0 77 0 0,13 0 440 0 0,1 0 1 0 0,19-3-1 0 0,-24 2-331 0 0,180-14 2612 0 0,-78 8-2324 0 0,-82 7-510 0 0,-25 0-49 0 0,3-1-20 0 0,24 1-1325 0 0,-7 2-7585 0 0</inkml:trace>
</inkml:ink>
</file>

<file path=ppt/ink/ink2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4.01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0 18 1456 0 0,'-42'7'6243'0'0,"41"-7"-6146"0"0,0 0 0 0 0,0 0 0 0 0,1 1 0 0 0,-1-1 0 0 0,0 0 0 0 0,0 0 0 0 0,0 1 0 0 0,1-1 0 0 0,-1 0 0 0 0,0 1 0 0 0,0-1 0 0 0,1 1 0 0 0,-1-1-1 0 0,0 1 1 0 0,0 1 0 0 0,-1-1 102 0 0,-1 1 238 0 0,1 0-34 0 0,-8 10 1135 0 0,9-10-1005 0 0,0-1-349 0 0,1 0-71 0 0,0-1 0 0 0,0 1 0 0 0,-1 0 0 0 0,1 0 1 0 0,0-1-1 0 0,-1 1 0 0 0,1 0 0 0 0,0-1 0 0 0,-1 1 0 0 0,1-1 1 0 0,-1 1-1 0 0,0 0 0 0 0,3 1 246 0 0,-1-1-315 0 0,1-1 26 0 0,-1 1 0 0 0,0-1 0 0 0,0 1 0 0 0,0-1 1 0 0,0 1-1 0 0,1-1 0 0 0,-1 0 0 0 0,0 1 0 0 0,0-1 0 0 0,1 0 0 0 0,-1 0 1 0 0,0 0-1 0 0,1 0 0 0 0,-1 0 0 0 0,0 0 0 0 0,0 0 0 0 0,1-1 0 0 0,-1 1 1 0 0,2-1-1 0 0,64-15 473 0 0,1 2 0 0 0,132-9 0 0 0,-156 22-982 0 0,63-3-593 0 0,-36-2-9279 0 0,-54 4 4651 0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9.02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 406 64 0 0,'-2'2'1608'0'0,"1"0"-1270"0"0,0 0 0 0 0,-1 0 0 0 0,1-1-1 0 0,0 1 1 0 0,1 0 0 0 0,-1 0 0 0 0,0 0-1 0 0,0 0 1 0 0,1 0 0 0 0,-1 0 0 0 0,1 0-1 0 0,0 0 1 0 0,-1 0 0 0 0,1 4 0 0 0,1 9 1712 0 0,4 28 0 0 0,16 46-1124 0 0,-6-29-818 0 0,7 40-110 0 0,10 126-1 0 0,-24-143 46 0 0,4 67 165 0 0,-12-148 66 0 0,-1-5-356 0 0,-11-57-651 0 0,-6-105 1 0 0,15 121 398 0 0,-16-391-2020 0 0,19 384 2288 0 0,2 0 1 0 0,12-77 0 0 0,-9 105 162 0 0,0 0-1 0 0,1 0 1 0 0,2 1 0 0 0,0 0-1 0 0,1 0 1 0 0,2 1 0 0 0,21-35-1 0 0,-28 50 40 0 0,0 1-1 0 0,0-1 0 0 0,1 1 0 0 0,0 1 1 0 0,0-1-1 0 0,0 0 0 0 0,1 1 1 0 0,-1 0-1 0 0,1 1 0 0 0,0-1 1 0 0,0 1-1 0 0,7-3 0 0 0,-7 7 111 0 0,10 3-34 0 0,-16-4-202 0 0,1 0 1 0 0,-1 1 0 0 0,1-1 0 0 0,-1 0-1 0 0,0 0 1 0 0,1 0 0 0 0,-1 0 0 0 0,1 1-1 0 0,-1-1 1 0 0,0 0 0 0 0,1 0 0 0 0,-1 1-1 0 0,0-1 1 0 0,1 0 0 0 0,-1 1 0 0 0,0-1-1 0 0,1 1 1 0 0,4 6 51 0 0,0-1 0 0 0,-1 1 0 0 0,0 0 0 0 0,0 1 0 0 0,-1-1 0 0 0,0 1 0 0 0,0 0 0 0 0,0-1 0 0 0,1 12 0 0 0,-1 3-1 0 0,-2 0 1 0 0,0 0-1 0 0,-3 28 0 0 0,-12 67 20 0 0,10-88-52 0 0,-10 64 8 0 0,-42 146 1 0 0,53-230-454 0 0,3-7-381 0 0,17-34-9769 0 0,-9 19 10158 0 0</inkml:trace>
</inkml:ink>
</file>

<file path=ppt/ink/ink2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6.30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706 8 0 0,'0'-3'1052'0'0,"4"-8"1864"0"0,-2 8-2000 0 0,8-7 24 0 0,-7 8 17 0 0,-1-1-63 0 0,5-7-117 0 0,-5 7-95 0 0,0 1-111 0 0,43-83 3544 0 0,-12 12-2789 0 0,16-60-381 0 0,41-97-247 0 0,-43 109-735 0 0,-46 118 62 0 0,-1 1-5 0 0,3-7 5 0 0,-2 6 154 0 0,-3 6-170 0 0,0-1-9 0 0,1-1 0 0 0,0-1-1 0 0,0 1 0 0 0,0 0 0 0 0,1 0 1 0 0,-1-1-1 0 0,1 1 0 0 0,-1 0 0 0 0,0 0 1 0 0,1 0-1 0 0,-1 0 0 0 0,1 0 0 0 0,0 0 1 0 0,-1 0-1 0 0,1 0 0 0 0,0 1 0 0 0,-44 181 143 0 0,5 102-321 0 0,17 64 15 0 0,21-293 211 0 0,1-50-32 0 0,0-1 1 0 0,1 1 0 0 0,1 8-1 0 0,-1-11-5 0 0,-1-4-13 0 0,1 1 0 0 0,0 0 0 0 0,-1 0 1 0 0,1 0-1 0 0,0-1 0 0 0,-1 1 0 0 0,1 0 1 0 0,0-1-1 0 0,-1 1 0 0 0,1 0 0 0 0,0-1 1 0 0,0 0-1 0 0,0 0-13 0 0,0 1 0 0 0,-1-1 0 0 0,1 1 0 0 0,-1 0 0 0 0,1-1 0 0 0,-1 1 0 0 0,1-1 0 0 0,-1 1 0 0 0,0 0 1 0 0,1-1-1 0 0,-1 1 0 0 0,0-1 0 0 0,1 1 0 0 0,-1-1 0 0 0,0 1 0 0 0,1-1 0 0 0,-1 0 0 0 0,0 1 1 0 0,0-1-1 0 0,1 0 0 0 0,-1-1-65 0 0,8-17-2027 0 0,-2-3-3656 0 0,1-3-2829 0 0</inkml:trace>
</inkml:ink>
</file>

<file path=ppt/ink/ink2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6.83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99 1 8 0 0,'-16'1'0'0'0,"2"3"0"0"0,1 2 0 0 0,-4 3 1388 0 0,-27 18 0 0 0,37-22-1175 0 0,1-1 580 0 0,0 0 1 0 0,0-1-1 0 0,0 0 1 0 0,-1 0-1 0 0,1-1 1 0 0,-1 1-1 0 0,-8 0 1 0 0,13-2 26 0 0,0-1-79 0 0,-10 0 1757 0 0,10-1-2155 0 0,-8-4 847 0 0,12 4-1081 0 0,7-6 4 0 0,-6 5-15 0 0,0 2-13 0 0,10-3 68 0 0,1 1 0 0 0,0 1 0 0 0,0 0 0 0 0,-1 1 0 0 0,21 3 0 0 0,74 14 7 0 0,-23-2-152 0 0,-79-14-8 0 0,5 1 29 0 0,-1-1-1 0 0,1 0 0 0 0,0 0 0 0 0,0-2 1 0 0,0 1-1 0 0,16-4 0 0 0,-5-3 142 0 0,-20 6 180 0 0,2-8-214 0 0,-3 8-113 0 0,0-1 140 0 0,-3 0-149 0 0,-8-3-12 0 0,0 0-118 0 0,8 5 72 0 0,0-1-170 0 0,-1 0-124 0 0,-22-10-2750 0 0</inkml:trace>
</inkml:ink>
</file>

<file path=ppt/ink/ink2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7.36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7 1 8 0 0,'-2'0'3274'0'0,"-8"1"-167"0"0,8 2-2687 0 0,-8 16 674 0 0,0 0 0 0 0,-11 35-1 0 0,9-18 141 0 0,-9 60 0 0 0,14-61-811 0 0,-51 330 1930 0 0,56-351-2315 0 0,1 0 1 0 0,0 0-1 0 0,1 0 1 0 0,1-1-1 0 0,0 1 1 0 0,1 0 0 0 0,5 17-1 0 0,0-17-63 0 0,-5-11 15 0 0,-1 0-38 0 0,1-1-29 0 0,7 6-55 0 0,-7-5-80 0 0,0-3-107 0 0,7 0-144 0 0,-6 0-189 0 0,8-9-3389 0 0,4-20-5614 0 0</inkml:trace>
</inkml:ink>
</file>

<file path=ppt/ink/ink2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7.69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 118 8 0 0,'-3'0'465'0'0,"-27"2"8483"0"0,31-5-8235 0 0,3-7-53 0 0,-4 10-635 0 0,0 0-1 0 0,0-1 1 0 0,0 1-1 0 0,0 0 1 0 0,0 0-1 0 0,0 0 1 0 0,0-1-1 0 0,0 1 1 0 0,1 0-1 0 0,-1 0 0 0 0,0 0 1 0 0,0 0-1 0 0,0-1 1 0 0,0 1-1 0 0,0 0 1 0 0,1 0-1 0 0,-1 0 1 0 0,0 0-1 0 0,0 0 1 0 0,0 0-1 0 0,1-1 1 0 0,-1 1-1 0 0,0 0 1 0 0,0 0-1 0 0,1 0 0 0 0,46-18 1414 0 0,80-20-1 0 0,-104 32-1360 0 0,41-9-1530 0 0,76-8 0 0 0,-122 21-2192 0 0,1 1 0 0 0,27 3 0 0 0,-28-1 3112 0 0</inkml:trace>
</inkml:ink>
</file>

<file path=ppt/ink/ink2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48.53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6 0 8 0 0,'-15'2'0'0'0,"0"3"48"0"0,5 1 1184 0 0,2 0-1 0 0,-1 1 1 0 0,-13 12-1 0 0,-4 7 901 0 0,17-15-1574 0 0,1 1 1 0 0,0 1 0 0 0,0-1 0 0 0,1 1 0 0 0,-10 28 0 0 0,13-32-324 0 0,-6 20 316 0 0,0 1 0 0 0,2 0-1 0 0,1 0 1 0 0,1 1 0 0 0,2 0-1 0 0,1 0 1 0 0,2 45 0 0 0,4-13-423 0 0,3 1-1 0 0,23 100 1 0 0,-17-116-266 0 0,2 1 0 0 0,31 70 0 0 0,-12-51-2466 0 0,6-5-3570 0 0,-26-44 3021 0 0,2-1 15 0 0</inkml:trace>
</inkml:ink>
</file>

<file path=ppt/ink/ink2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55.0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5 1 8 0 0,'-8'17'0'0'0,"6"-4"0"0"0,19 14 8556 0 0,-17-27-8552 0 0,0 0-1 0 0,0 1 1 0 0,0-1-1 0 0,0 0 1 0 0,0 1-1 0 0,0-1 1 0 0,0 1-1 0 0,0-1 1 0 0,0 0-1 0 0,0 1 1 0 0,0-1-1 0 0,0 0 1 0 0,0 1-1 0 0,1-1 0 0 0,-1 0 1 0 0,0 1-1 0 0,0-1 1 0 0,0 0-1 0 0,1 1 1 0 0,-1-1-1 0 0,1 1 1 0 0,-1-1-1 0 0,0 1 1 0 0,1 0-1 0 0,-1-1 1 0 0,0 1-1 0 0,1-1 1 0 0,-1 1-1 0 0,0 0 1 0 0,0-1-1 0 0,0 1 1 0 0,0 0-1 0 0,0-1 1 0 0,1 1-1 0 0,-2 1 1 0 0,5 29 51 0 0,8 35 86 0 0,22 66 1 0 0,1 7 216 0 0,-13-37-91 0 0,-3-22-164 0 0,8 91 0 0 0,-23-121-81 0 0,-3 0 0 0 0,-2 0-1 0 0,-2 0 1 0 0,-2 0-1 0 0,-20 83 1 0 0,-103 301 217 0 0,85-330-209 0 0,32-80-30 0 0,8-21-6 0 0,2 0-44 0 0,0-1-243 0 0,-2 5-2092 0 0,9-13 208 0 0,-5 5 2413 0 0,16-17-5615 0 0,-5 5 5183 0 0</inkml:trace>
</inkml:ink>
</file>

<file path=ppt/ink/ink2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1:56.26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2 28 8 0 0,'-13'9'0'0'0,"6"2"8"0"0,6-9 103 0 0,4-4-83 0 0,6-8-20 0 0,-7 8 4 0 0,0 0-2 0 0,4-9 8 0 0,-4 9 10 0 0,-1 0-2 0 0,6-8 5 0 0,-5 8 656 0 0,-3 2-676 0 0,1 0 0 0 0,0 0 0 0 0,-1 0 0 0 0,1 0 1 0 0,-1 0-1 0 0,1 0 0 0 0,0 0 0 0 0,0 0 0 0 0,-1-1 0 0 0,1 1 0 0 0,0 0 1 0 0,-1 0-1 0 0,1 0 0 0 0,0 0 0 0 0,-1-1 0 0 0,1 1 0 0 0,0 0 0 0 0,0 0 0 0 0,-1-1 1 0 0,1 1-1 0 0,0 0 0 0 0,-1-1 4 0 0,1 1 0 0 0,0 0 0 0 0,0-1 0 0 0,-1 1 0 0 0,1 0 0 0 0,0 0 0 0 0,0 0 0 0 0,-1-1 0 0 0,1 1 0 0 0,0 0 0 0 0,0 0 0 0 0,-1 0 0 0 0,1 0 0 0 0,0-1 0 0 0,-1 1 0 0 0,1 0 0 0 0,0 0 0 0 0,-1 0 0 0 0,1 0 0 0 0,0 0 0 0 0,-1 0 0 0 0,0 0 3 0 0,1 0 1 0 0,-1 0 0 0 0,1 0-1 0 0,-1 0 1 0 0,1 1 0 0 0,0-1-1 0 0,-1 0 1 0 0,1 0 0 0 0,-1 0-1 0 0,1 0 1 0 0,0 1-1 0 0,-1-1 1 0 0,1 0 0 0 0,0 0-1 0 0,-1 1 1 0 0,1-1 0 0 0,0 0-1 0 0,-1 1 1 0 0,-6 5 823 0 0,-1-1-429 0 0,6-3 37 0 0,0 0 7 0 0,-9 7 1184 0 0,9-7-1328 0 0,-8 10 1115 0 0,12-14-1413 0 0,7-3-14 0 0,-6 3-9 0 0,-3 2 6 0 0,1 0 0 0 0,0-1 0 0 0,0 1-1 0 0,0-1 1 0 0,-1 1 0 0 0,1-1 0 0 0,0 1 0 0 0,0-1 0 0 0,-1 1-1 0 0,1-1 1 0 0,0 0 0 0 0,0-1 0 0 0,0 1-4 0 0,1-1-36 0 0,1 0-367 0 0,-1 1 325 0 0,-1 0 0 0 0,0 1 0 0 0,-1-1 1 0 0,1 1-1 0 0,0-1 0 0 0,0 0 0 0 0,-1 1 0 0 0,1-1 0 0 0,0 0 0 0 0,-1 1 0 0 0,1-1 0 0 0,0-1 0 0 0,0 4 27 0 0,0 0 1 0 0,-1-1-1 0 0,1 1 0 0 0,-1 0 1 0 0,0 0-1 0 0,1 0 0 0 0,-1 0 1 0 0,0 0-1 0 0,0 0 0 0 0,-1 3 1 0 0,1-5 49 0 0,0 2-615 0 0,3 12-3998 0 0</inkml:trace>
</inkml:ink>
</file>

<file path=ppt/ink/ink2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1.11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56 14 8 0 0,'-12'-4'0'0'0,"-1"0"0"0"0,-2 0 0 0 0,3 2 31 0 0,2 3 446 0 0,7-1-329 0 0,1 1 360 0 0,0 0 23 0 0,-21 10 1473 0 0,21-10-1555 0 0,-1 2 5 0 0,2-2-429 0 0,-8 6 822 0 0,1 0 0 0 0,-14 16 0 0 0,19-20-743 0 0,-8 13 351 0 0,-1 5-74 0 0,-13 31 236 0 0,2 1 0 0 0,2 2 0 0 0,-21 88-1 0 0,-15 181 3 0 0,43-179-634 0 0,3 150-1 0 0,15-176 12 0 0,32 202-1 0 0,43 18 922 0 0,-63-283-574 0 0,3 0 1 0 0,2-1 0 0 0,3-1 0 0 0,2-1 0 0 0,39 59 0 0 0,-58-102-299 0 0,0-1 0 0 0,1 1 0 0 0,0-1 0 0 0,1-1 1 0 0,16 13-1 0 0,-19-16-40 0 0,1-1 1 0 0,-1 0-1 0 0,1 0 1 0 0,0-1-1 0 0,0 1 0 0 0,0-2 1 0 0,0 1-1 0 0,0-1 1 0 0,15 3-1 0 0,-20-5-36 0 0,-1 0 0 0 0,0 0 0 0 0,1 0-1 0 0,-1 0 1 0 0,0 0 0 0 0,1 0 0 0 0,-1 0 0 0 0,0 0 0 0 0,1-1-1 0 0,0 1 1 0 0,2-1-78 0 0,-2 0-260 0 0,1 0 1 0 0,-1 1-1 0 0,1-1 0 0 0,-1 0 1 0 0,0 0-1 0 0,1 0 0 0 0,-1-1 0 0 0,0 1 1 0 0,0-1-1 0 0,4-2 0 0 0,-3 2-432 0 0</inkml:trace>
</inkml:ink>
</file>

<file path=ppt/ink/ink2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2.03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1 658 8 0 0,'-16'17'0'0'0,"3"-2"0"0"0,1 0 0 0 0,3 0 1266 0 0,8-12-320 0 0,-5 10 1680 0 0,6-11-1855 0 0,-2 11 1323 0 0,0 1 3823 0 0,4-16-5574 0 0,8-3-44 0 0,-8 4-34 0 0,1-2-25 0 0,15-16 168 0 0,1-3-96 0 0,73-88 258 0 0,15-17-297 0 0,61-91-31 0 0,-115 143-165 0 0,-11 21-55 0 0,27-41-176 0 0,-56 77 119 0 0,-11 15 21 0 0,-2 3 10 0 0,1-1 1 0 0,-1 0-1 0 0,0 0 1 0 0,1 1 0 0 0,-1-1-1 0 0,0 0 1 0 0,1 1-1 0 0,-1-1 1 0 0,1 0 0 0 0,-1 1-1 0 0,1-1 1 0 0,0 0-1 0 0,0 0-5 0 0,1-1-51 0 0,-4 5-172 0 0,-17 24 113 0 0,-2 11 42 0 0,2 1-1 0 0,1 0 0 0 0,-17 58 1 0 0,-56 224-164 0 0,78-272 216 0 0,-15 72 3 0 0,27-116 27 0 0,1 6-5 0 0,-1-8-8 0 0,2-3-10 0 0,-1 0 16 0 0,0 0 0 0 0,0 0 0 0 0,1 0 0 0 0,-1 0 0 0 0,0 0 0 0 0,1 0 0 0 0,-1 0-1 0 0,0 0 1 0 0,0 1 0 0 0,1-1 0 0 0,-1 0 0 0 0,0 0 0 0 0,0 0 0 0 0,1 0 0 0 0,-1 1 0 0 0,0-1 0 0 0,0 0 0 0 0,1 0 0 0 0,-1 0 0 0 0,0 1 0 0 0,0-1 0 0 0,0 0 0 0 0,1 1 0 0 0,-1-1-9 0 0,0 0 0 0 0,0 1 0 0 0,0-1 1 0 0,0 0-1 0 0,0 0 0 0 0,1 1 0 0 0,-1-1 1 0 0,0 0-1 0 0,0 0 0 0 0,0 1 0 0 0,1-1 1 0 0,-1 0-1 0 0,0 0 0 0 0,0 0 0 0 0,1 0 1 0 0,-1 0-1 0 0,0 1 0 0 0,1-1 0 0 0,-1 0 1 0 0,0 0-1 0 0,0 0 0 0 0,1 0 0 0 0,-1 0 1 0 0,1 0-1 0 0,1-2-388 0 0,23-17-2926 0 0,-15 9-104 0 0,-6 6 2285 0 0,19-22-5625 0 0</inkml:trace>
</inkml:ink>
</file>

<file path=ppt/ink/ink2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2.52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3 12 8 0 0,'-12'4'0'0'0,"-2"1"0"0"0,1-2 0 0 0,-1-2 79 0 0,1-3 447 0 0,7 1 1827 0 0,-22-4 3292 0 0,26 4-5019 0 0,-8-2 2578 0 0,12 4-3048 0 0,6 3 10 0 0,-6-4 3 0 0,1 2 7 0 0,7 2 7 0 0,-7-3-4 0 0,11 4 172 0 0,-10-3-155 0 0,1-1-1 0 0,0 0 0 0 0,-1 1 0 0 0,1-2 0 0 0,10 2 1 0 0,19-3 313 0 0,1-1 1 0 0,51-9 0 0 0,-47 2-332 0 0,4-5-140 0 0,-41 13-128 0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9.34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1 9 5649 0 0,'-3'1'3533'0'0,"-25"19"-60"0"0,7 0-1261 0 0,-36 46-1 0 0,41-44-2004 0 0,0 1 0 0 0,-15 30 0 0 0,24-38-204 0 0,0 0 0 0 0,1 0 0 0 0,0 1 0 0 0,-6 32 0 0 0,12-45 4 0 0,0 0 0 0 0,-1 0-1 0 0,1 0 1 0 0,0-1 0 0 0,0 1-1 0 0,0 0 1 0 0,1 0 0 0 0,-1 0-1 0 0,1-1 1 0 0,0 1 0 0 0,-1 0-1 0 0,2 2 1 0 0,-2-5-5 0 0,0 0 0 0 0,0 0 0 0 0,0 0-1 0 0,0 1 1 0 0,1-1 0 0 0,-1 0 0 0 0,0 0 0 0 0,0 0 0 0 0,0 0-1 0 0,0 0 1 0 0,0 0 0 0 0,0 0 0 0 0,0 0 0 0 0,0 0-1 0 0,0 0 1 0 0,0 1 0 0 0,0-1 0 0 0,0 0 0 0 0,0 0 0 0 0,0 0-1 0 0,1 0 1 0 0,-1 0 0 0 0,0 0 0 0 0,0 0 0 0 0,0 0-1 0 0,0 0 1 0 0,0 0 0 0 0,0 0 0 0 0,0 0 0 0 0,0 0 0 0 0,1 0-1 0 0,-1 0 1 0 0,0 0 0 0 0,0 0 0 0 0,0 0 0 0 0,0 0-1 0 0,0 0 1 0 0,0 0 0 0 0,0 0 0 0 0,0 0 0 0 0,0 0 0 0 0,1 0-1 0 0,-1 0 1 0 0,3-1 41 0 0,1-1-1 0 0,-1 1 1 0 0,0-1-1 0 0,0 0 1 0 0,0 0-1 0 0,0 0 1 0 0,5-3-1 0 0,10-13 149 0 0,0 0-1 0 0,0-1 0 0 0,22-34 1 0 0,33-67-95 0 0,-64 104-613 0 0,0-1 0 0 0,-2 1 0 0 0,0-1 0 0 0,5-20 0 0 0,-11 34 148 0 0,-2 1 11 0 0,-2-9-468 0 0,0 12 300 0 0,1-1 464 0 0,0 1-108 0 0,0-1 0 0 0,0 1 0 0 0,0-1 0 0 0,0 1 0 0 0,0 0 0 0 0,0-1 0 0 0,0 1 0 0 0,0 0 0 0 0,0 0 0 0 0,1 1 0 0 0,-1-1 0 0 0,0 0 0 0 0,1 0 0 0 0,-2 3 0 0 0,0-2-44 0 0,1-1 98 0 0,1 0-1 0 0,0 1 1 0 0,0-1-1 0 0,0 0 1 0 0,0 0-1 0 0,0 1 1 0 0,0-1-1 0 0,-1 2 1 0 0,-15 30-2245 0 0,12-23 807 0 0,4-9 1377 0 0,1 0 0 0 0,-1 0 0 0 0,1 1-1 0 0,-1-1 1 0 0,1 0 0 0 0,0 1 0 0 0,-1-1 0 0 0,1 0-1 0 0,0 1 1 0 0,0-1 0 0 0,0 1 0 0 0,0 0-1 0 0,0-1-8 0 0,-1 3-332 0 0,1-3 311 0 0,0 0-1 0 0,-1 0 1 0 0,1 1-1 0 0,0-1 1 0 0,0 0 0 0 0,0 0-1 0 0,0 0 1 0 0,0 1-1 0 0,0-1 1 0 0,0 0-1 0 0,1 0 1 0 0,-1 3 0 0 0,4 9-707 0 0</inkml:trace>
</inkml:ink>
</file>

<file path=ppt/ink/ink2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2.93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2 6 8 0 0,'-14'-6'8625'0'0,"12"9"-8469"0"0,0 0-29 0 0,0 0 0 0 0,1 0 0 0 0,-1 0 0 0 0,1 1 0 0 0,0-1 1 0 0,0 1-1 0 0,0-1 0 0 0,0 1 0 0 0,0-1 0 0 0,1 6 1 0 0,-18 147 2703 0 0,2-23-2171 0 0,12-89-468 0 0,-3 0-1 0 0,-15 55 1 0 0,20-91-134 0 0,-6 21 231 0 0,-6 46 0 0 0,13-74-313 0 0,1 1-1 0 0,0 0 1 0 0,0 0 0 0 0,0 0-1 0 0,0 0 1 0 0,0-1 0 0 0,1 1 0 0 0,0 2-1 0 0,0 5-1122 0 0,1-9 490 0 0,6 0-183 0 0,16-18-9134 0 0,-19 14 9419 0 0,-1-1-714 0 0,4-5 1048 0 0</inkml:trace>
</inkml:ink>
</file>

<file path=ppt/ink/ink2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3.25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9 133 8 0 0,'-29'6'7763'0'0,"28"-7"-7658"0"0,1 0 0 0 0,0 0 0 0 0,-1 0 0 0 0,1 0-1 0 0,0 1 1 0 0,-1-1 0 0 0,1 0 0 0 0,-1 0 0 0 0,0 1 0 0 0,1-1 0 0 0,-1 0 0 0 0,-1 0 0 0 0,2 0 69 0 0,0 1-157 0 0,-1 0 0 0 0,1 0 1 0 0,0 0-1 0 0,0 0 1 0 0,0 0-1 0 0,0 0 0 0 0,0-1 1 0 0,0 1-1 0 0,0 0 0 0 0,0 0 1 0 0,0 0-1 0 0,0 0 1 0 0,0 0-1 0 0,-1 0 0 0 0,1-1 1 0 0,0 1-1 0 0,0 0 0 0 0,0 0 1 0 0,0 0-1 0 0,0 0 1 0 0,0 0-1 0 0,0-1 0 0 0,0 1 1 0 0,0 0-1 0 0,0 0 0 0 0,0 0 1 0 0,0 0-1 0 0,0 0 1 0 0,1 0-1 0 0,-1-1 0 0 0,0 1 1 0 0,0 0-1 0 0,0 0 0 0 0,0 0 1 0 0,1-3 227 0 0,1 0 0 0 0,-1 0 0 0 0,1 0 1 0 0,0 0-1 0 0,0 0 0 0 0,0 1 0 0 0,4-5 1 0 0,-3 3-102 0 0,12-9 522 0 0,6-2-40 0 0,-4 6-466 0 0,0 0 0 0 0,0 2 0 0 0,0 0 0 0 0,1 0 0 0 0,25-4 0 0 0,-25 7-253 0 0,0 0 0 0 0,1 2 0 0 0,-1 0-1 0 0,0 1 1 0 0,1 1 0 0 0,29 3 0 0 0,-2 3-5127 0 0,-30-9-1345 0 0</inkml:trace>
</inkml:ink>
</file>

<file path=ppt/ink/ink2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3.67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 43 8 0 0,'0'0'2247'0'0,"0"-2"-1361"0"0,-1-9 791 0 0,3 11-959 0 0,22-9 1076 0 0,45-9-1 0 0,-69 18-1762 0 0,3-1 120 0 0,0 1 0 0 0,0-1 1 0 0,0 1-1 0 0,1-1 1 0 0,-1 1-1 0 0,0 0 1 0 0,0 0-1 0 0,5 1 1 0 0,-7 0-122 0 0,-1-1 0 0 0,1 0 1 0 0,0 1-1 0 0,-1-1 0 0 0,1 1 0 0 0,0-1 0 0 0,-1 1 1 0 0,1-1-1 0 0,0 1 0 0 0,-1 0 0 0 0,1-1 0 0 0,0 2 1 0 0,0 0 36 0 0,1-1 152 0 0,-1 2-34 0 0,-1 1-145 0 0,1 0 0 0 0,-1 0 0 0 0,0 0 0 0 0,0 0 0 0 0,-1 0 0 0 0,1 0 0 0 0,-1 0 0 0 0,0-1 0 0 0,-2 7 0 0 0,-2 3-48 0 0,-9 18 0 0 0,0-2 26 0 0,-52 112 3318 0 0,65-138-3184 0 0,0 0 0 0 0,0 0 0 0 0,1 0-1 0 0,-1 0 1 0 0,1 0 0 0 0,-1 1 0 0 0,1 5 0 0 0,0-8-124 0 0,0 0-14 0 0,0-1 0 0 0,0 1 0 0 0,0 0 0 0 0,0-1 0 0 0,0 1 0 0 0,0 0-1 0 0,0 0 1 0 0,0-1 0 0 0,1 1 0 0 0,-1 0 0 0 0,0-1 0 0 0,0 1 0 0 0,1 0 0 0 0,-1 0 0 0 0,1 1 13 0 0,0 0 33 0 0,2 1-10 0 0,8 8-4 0 0,-10-11-41 0 0,-1 1-1 0 0,1 0 1 0 0,-1-1-1 0 0,1 1 0 0 0,0-1 1 0 0,-1 1-1 0 0,1-1 1 0 0,0 1-1 0 0,-1-1 1 0 0,1 1-1 0 0,0-1 1 0 0,0 0-1 0 0,0 1 0 0 0,0-1 1 0 0,-1 0-1 0 0,1 0 1 0 0,1 1-1 0 0,1-1 12 0 0,3 3 15 0 0,0-1-1 0 0,0-1 0 0 0,13 3 0 0 0,-16-4-27 0 0,4 1-92 0 0,-1 0-1 0 0,0 0 0 0 0,1-1 1 0 0,-1 0-1 0 0,0-1 1 0 0,1 1-1 0 0,-1-1 0 0 0,8-3 1 0 0,23-8-4469 0 0,-19 6-989 0 0,6-5-508 0 0</inkml:trace>
</inkml:ink>
</file>

<file path=ppt/ink/ink2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5.31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1 0 8 0 0,'-15'3'0'0'0,"1"3"0"0"0,-1 4 0 0 0,-5 17 9791 0 0,19-27-9758 0 0,0 0 0 0 0,1-1-1 0 0,-1 1 1 0 0,0 0-1 0 0,1 0 1 0 0,-1-1 0 0 0,0 1-1 0 0,1 0 1 0 0,-1-1-1 0 0,1 1 1 0 0,-1-1 0 0 0,-1 0-1 0 0,1 0 26 0 0,-1 0 234 0 0,1 1-289 0 0,0 1-1 0 0,1 0 1 0 0,-1-1 0 0 0,0 1 0 0 0,0 0-1 0 0,0 0 1 0 0,1-1 0 0 0,-1 1 0 0 0,0 0-1 0 0,1 0 1 0 0,-2 1 0 0 0,1 1-1 0 0,-4 2-12 0 0,1 1 1 0 0,0 0 0 0 0,0 0 0 0 0,1 1 0 0 0,0-1 0 0 0,-4 9 0 0 0,5-9 3 0 0,-9 20-47 0 0,-57 143 67 0 0,12 5 631 0 0,44-125-419 0 0,-24 99 615 0 0,11 2 330 0 0,23-128-1042 0 0,2 0 1 0 0,0 0-1 0 0,1 0 1 0 0,1 0 0 0 0,6 31-1 0 0,-5-42-135 0 0,0 0-1 0 0,0 0 1 0 0,1-1-1 0 0,1 0 1 0 0,0 0-1 0 0,0 0 1 0 0,0 0-1 0 0,2-1 1 0 0,-1 0-1 0 0,1 0 1 0 0,0-1-1 0 0,14 14 1 0 0,6-1-1690 0 0,58 34 0 0 0,-7-12-7371 0 0,-54-30 7459 0 0</inkml:trace>
</inkml:ink>
</file>

<file path=ppt/ink/ink2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6.00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5 37 8 0 0,'-12'-12'113'0'0,"-2"0"3731"0"0,12 10-2935 0 0,-7-9 2740 0 0,8 12-3635 0 0,1 0 0 0 0,0 0 0 0 0,0-1-1 0 0,0 1 1 0 0,-1 0 0 0 0,1 0 0 0 0,0-1-1 0 0,-1 1 1 0 0,1 0 0 0 0,0-1 0 0 0,-1 1 0 0 0,0 1-1 0 0,0-1 16 0 0,0 1 71 0 0,1 1 32 0 0,37 116 2805 0 0,-23-78-2393 0 0,1-4-226 0 0,2 0 0 0 0,1-1 0 0 0,25 37 0 0 0,6 9 118 0 0,-48-80-431 0 0,102 199 430 0 0,-40-39-258 0 0,-55-136-170 0 0,-1 1 1 0 0,-1 1-1 0 0,-2-1 0 0 0,2 35 1 0 0,-6-49-38 0 0,-1 0 1 0 0,0 0 0 0 0,0 0-1 0 0,-1 0 1 0 0,-1 0 0 0 0,0 0-1 0 0,-1 0 1 0 0,-1-1 0 0 0,0 1-1 0 0,0-1 1 0 0,-1 0 0 0 0,-1-1-1 0 0,0 0 1 0 0,0 0 0 0 0,-1 0-1 0 0,-11 11 1 0 0,-48 38-14 0 0,46-42 30 0 0,-21 12 2 0 0,40-28-14 0 0</inkml:trace>
</inkml:ink>
</file>

<file path=ppt/ink/ink2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8.5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 38 8 0 0,'-13'9'0'0'0,"1"1"1411"0"0,14-12-991 0 0,8-8 1428 0 0,-9 8-1518 0 0,0 0-257 0 0,-1 0 1 0 0,1 0 0 0 0,-1 0-1 0 0,0-1 1 0 0,1 1 0 0 0,-1 0-1 0 0,0 0 1 0 0,-1 0-1 0 0,1 0 1 0 0,0 0 0 0 0,0 0-1 0 0,-1 0 1 0 0,1 0-1 0 0,-2-3 1 0 0,1 3 808 0 0,1 5-750 0 0,5 32 361 0 0,-4-32-464 0 0,-1-1-9 0 0,1 1-12 0 0,2 7 136 0 0,-1-9-68 0 0,0 0-47 0 0,-2-1-14 0 0,1 1 1 0 0,0-1-1 0 0,-1 0 1 0 0,1 1-1 0 0,0-1 1 0 0,0 0-1 0 0,-1 1 1 0 0,1-1 0 0 0,0 0-1 0 0,0 0 1 0 0,1 0-1 0 0,0-1 49 0 0,7-7-6 0 0,-7 6-9 0 0,-1 0-32 0 0,1-3-99 0 0,-1 0-1 0 0,0 1 0 0 0,0-1 0 0 0,0 0 1 0 0,0-8-1 0 0,-2 11 26 0 0,0-1-17 0 0,-9-8 24 0 0,8 10 27 0 0,-1 1 4 0 0,1 0-1 0 0,0 0 1 0 0,-1 0-1 0 0,1 0 1 0 0,0 0 0 0 0,-1 1-1 0 0,1-1 1 0 0,-4 2-1 0 0,4-2-38 0 0,0 3-173 0 0,-7 6-78 0 0,6-7-276 0 0,1 4-1679 0 0,2-6 2185 0 0,0 0 1 0 0,0 0-1 0 0,-1 0 1 0 0,1 1-1 0 0,0-1 1 0 0,-1 0-1 0 0,1 0 2 0 0,0 1-1 0 0,-1-1 0 0 0,1 0 0 0 0,0 0 0 0 0,-1 0 0 0 0,1 1 0 0 0,0-1 0 0 0,0 0 0 0 0,0 0 0 0 0,-1 1 0 0 0,1-1 0 0 0,0 0 0 0 0,0 1 0 0 0,0-1 0 0 0,0 0 0 0 0,-1 0 0 0 0,1 1 0 0 0,0-1 0 0 0,0 0 0 0 0,0 1 0 0 0,0-1 0 0 0,0 0 0 0 0,0 1 0 0 0</inkml:trace>
</inkml:ink>
</file>

<file path=ppt/ink/ink2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9.04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60 13 8 0 0,'-12'-11'11146'0'0,"11"11"-11036"0"0,0 0 0 0 0,0 0 0 0 0,1-1-1 0 0,-1 1 1 0 0,0 0 0 0 0,0 0-1 0 0,0 0 1 0 0,0 0 0 0 0,0 0-1 0 0,0 0 1 0 0,-1 0 65 0 0,0 0 345 0 0,0 1-65 0 0,-6 3 202 0 0,1 1 0 0 0,-1 0 0 0 0,1 0 0 0 0,0 0 0 0 0,-11 13 0 0 0,-11 16 560 0 0,-46 71 0 0 0,42-49-1205 0 0,2 2 1 0 0,-32 84-1 0 0,52-115-5 0 0,2 1 0 0 0,-8 38 1 0 0,14-49 0 0 0,1 0 0 0 0,0 0 1 0 0,1 0-1 0 0,1 0 1 0 0,3 25-1 0 0,-1-31-114 0 0,0-1-1 0 0,1 0 1 0 0,1 0-1 0 0,0 0 0 0 0,0 0 1 0 0,1-1-1 0 0,0 1 1 0 0,0-1-1 0 0,9 10 1 0 0,-10-15-489 0 0,0 1 0 0 0,1-1 0 0 0,-1 0 0 0 0,1 0 0 0 0,0 0 0 0 0,0-1 0 0 0,8 4 0 0 0,-10-5-388 0 0,1 0-1 0 0,-1-1 1 0 0,1 1-1 0 0,-1-1 1 0 0,1 0 0 0 0,-1 0-1 0 0,1 0 1 0 0,0-1-1 0 0,4 1 1 0 0,6 0-3346 0 0</inkml:trace>
</inkml:ink>
</file>

<file path=ppt/ink/ink2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09.41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2 0 8 0 0,'-2'0'235'0'0,"-22"1"2384"0"0,20 0-831 0 0,-33 3 3371 0 0,35-3-5019 0 0,-1 1-72 0 0,-1 3-42 0 0,-1-1 0 0 0,1 1 0 0 0,0 0 0 0 0,0 0 0 0 0,1 0 0 0 0,-5 9 0 0 0,3-2 178 0 0,0 1 0 0 0,-6 20-1 0 0,8-21 83 0 0,1 1 0 0 0,0-1 0 0 0,0 1 0 0 0,1-1 0 0 0,1 1 0 0 0,0-1-1 0 0,4 21 1 0 0,-4-27-180 0 0,2 0 1 0 0,-1 1-1 0 0,1-1 0 0 0,0 0 0 0 0,0 0 0 0 0,0-1 0 0 0,1 1 1 0 0,0 0-1 0 0,0-1 0 0 0,0 0 0 0 0,1 0 0 0 0,0 0 0 0 0,0 0 0 0 0,0 0 1 0 0,1-1-1 0 0,8 7 0 0 0,-10-9-39 0 0,0-1 0 0 0,0 1 1 0 0,0-1-1 0 0,1 0 0 0 0,-1 0 1 0 0,0 0-1 0 0,1 0 0 0 0,-1-1 1 0 0,0 1-1 0 0,1-1 0 0 0,-1 0 1 0 0,1 0-1 0 0,-1 0 0 0 0,7-2 0 0 0,-3 1-7 0 0,-1-1 0 0 0,1 1 0 0 0,-1-1 0 0 0,0-1 0 0 0,1 1 0 0 0,7-6 0 0 0,-5 2-15 0 0,0-1-1 0 0,0 0 1 0 0,-1 0-1 0 0,0-1 1 0 0,0 0-1 0 0,-1 0 0 0 0,0-1 1 0 0,-1 1-1 0 0,9-16 1 0 0,-7 10-42 0 0,-1 0 1 0 0,-1-1 0 0 0,0 0-1 0 0,-1 0 1 0 0,-1 0-1 0 0,3-17 1 0 0,-6 25-27 0 0,0 0-1 0 0,-1 0 1 0 0,1 0 0 0 0,-1 0-1 0 0,-2-13 1 0 0,1 19 16 0 0,1 0 0 0 0,0 0 0 0 0,-1 0 1 0 0,1 0-1 0 0,0 0 0 0 0,-1 0 0 0 0,1 0 0 0 0,-1 0 1 0 0,1 0-1 0 0,-1 1 0 0 0,0-1 0 0 0,1 0 0 0 0,-1 0 0 0 0,-1-1 1 0 0,0 0-19 0 0,-4-3-75 0 0,0 3 67 0 0,0 0 0 0 0,0 0 0 0 0,0 1 0 0 0,0-1 0 0 0,0 1 0 0 0,-1 1 0 0 0,1-1 1 0 0,-1 1-1 0 0,1 0 0 0 0,0 0 0 0 0,-1 1 0 0 0,1 0 0 0 0,-7 2 0 0 0,-90 27 37 0 0,37-9-3 0 0,61-20-118 0 0,0 1 0 0 0,0-1 1 0 0,-1 0-1 0 0,1 0 0 0 0,-9-1 0 0 0,-2-2-3404 0 0,29-27-8227 0 0</inkml:trace>
</inkml:ink>
</file>

<file path=ppt/ink/ink2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15.74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 0 8 0 0,'-18'3'-8'0'0,"15"0"14"0"0,-2 0 1634 0 0,3-2-1022 0 0,1 0-326 0 0,0 0-100 0 0,1-1 0 0 0,-1 1-1 0 0,0-1 1 0 0,1 1 0 0 0,-1-1-1 0 0,0 1 1 0 0,1-1 0 0 0,-1 0-1 0 0,0 1 1 0 0,0-1-1 0 0,1 0 1 0 0,-3 1 0 0 0,4 1 289 0 0,-1 0-241 0 0,0-2-81 0 0,0 1 0 0 0,0 0 0 0 0,0-1-1 0 0,1 1 1 0 0,-1-1 0 0 0,0 1 0 0 0,0 0 0 0 0,0-1-1 0 0,1 1 1 0 0,-1 0 0 0 0,0-1 0 0 0,1 2 0 0 0,2-3 457 0 0,7 0 0 0 0,-7 1-7 0 0,0-1-27 0 0,7-3-62 0 0,0 1 1 0 0,0 1-1 0 0,0 0 1 0 0,1 0-1 0 0,0 1 1 0 0,14-1-1 0 0,20 4-169 0 0,1 2-1 0 0,77 17 0 0 0,-29-6-555 0 0,-77-13 121 0 0,0-1 0 0 0,0-1 0 0 0,23-2 0 0 0,-32 1 58 0 0,3-2 19 0 0,-4-1 25 0 0,16-9 13 0 0,-21 11-66 0 0,0 0-152 0 0,4-6 81 0 0,-4 5-54 0 0,-14 2-3133 0 0,-24 15-7344 0 0</inkml:trace>
</inkml:ink>
</file>

<file path=ppt/ink/ink2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16.15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6 0 8 0 0,'-13'2'0'0'0,"-1"5"0"0"0,4 3 89 0 0,7-7 235 0 0,1 0 0 0 0,-1 1-1 0 0,1-1 1 0 0,0 1 0 0 0,0 0-1 0 0,0 0 1 0 0,1-1 0 0 0,-1 1 0 0 0,1 0-1 0 0,0 0 1 0 0,0 0 0 0 0,1 1-1 0 0,-1-1 1 0 0,1 0 0 0 0,0 6-1 0 0,-1 0 372 0 0,-4 235 6152 0 0,6-165-6117 0 0,10 253 864 0 0,-11-325-1515 0 0,1 0 1 0 0,0 0 0 0 0,1 1-1 0 0,0-1 1 0 0,0 0-1 0 0,1-1 1 0 0,0 1-1 0 0,7 14 1 0 0,-5-14-71 0 0,-4-6-7 0 0,1 0-138 0 0,7 5-52 0 0,-7-5-112 0 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59.72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2 22 2841 0 0,'-3'-3'3664'0'0,"2"3"-3363"0"0,-1-3 276 0 0,0 1 1 0 0,0 1-1 0 0,-1-1 0 0 0,1 0 0 0 0,-1 1 1 0 0,1-1-1 0 0,-1 1 0 0 0,0-1 0 0 0,-4 0 1 0 0,-10 6 1985 0 0,15-2-2030 0 0,-3 2-428 0 0,2 0-1 0 0,-1 0 1 0 0,0 0 0 0 0,1 1-1 0 0,0-1 1 0 0,0 1-1 0 0,0 0 1 0 0,1-1-1 0 0,-4 11 1 0 0,1 7-14 0 0,1 0-1 0 0,2 1 1 0 0,0-1 0 0 0,2 37 0 0 0,0-36-6 0 0,9 259 368 0 0,0 0-646 0 0,-10-244 26 0 0,0-18-540 0 0,1-1 0 0 0,1 1 0 0 0,4 26-1 0 0,-5-45 532 0 0,0-1-1 0 0,0 1 1 0 0,0 0-1 0 0,0-1 1 0 0,1 1-1 0 0,-1-1 1 0 0,0 1-1 0 0,1 0 1 0 0,-1-1-1 0 0,0 1 1 0 0,1-1-1 0 0,-1 1 1 0 0,1 0-1 0 0</inkml:trace>
</inkml:ink>
</file>

<file path=ppt/ink/ink2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0.6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73 8 0 0,'0'-16'0'0'0,"3"-13"661"0"0,0 19 629 0 0,-1 6-642 0 0,-1 1 351 0 0,-2 2-911 0 0,1 1-1 0 0,0 0 1 0 0,0-1-1 0 0,0 1 1 0 0,0-1 0 0 0,0 1-1 0 0,0-1 1 0 0,1 1-1 0 0,-1-1 1 0 0,0 1-1 0 0,0-1 1 0 0,0 1 0 0 0,0-1-1 0 0,0 1 1 0 0,1 0-1 0 0,-1-1 1 0 0,0 1 0 0 0,0-1-1 0 0,1 1 1 0 0,-1 0-1 0 0,1-1 1 0 0,3 9 2678 0 0,0 18-692 0 0,-11 234 3562 0 0,7-232-5335 0 0,11 400 1774 0 0,-2-232-1656 0 0,-8-193-379 0 0,1-5-229 0 0,6-8-86 0 0,-5 5-192 0 0,1-24-2699 0 0,0-16-10993 0 0,-3 30 13579 0 0</inkml:trace>
</inkml:ink>
</file>

<file path=ppt/ink/ink2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0.94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9 136 8 0 0,'-22'2'738'0'0,"16"-1"1018"0"0,-3 3-804 0 0,-18 5 5455 0 0,25-9-6008 0 0,-7 1 3208 0 0,9-3-3304 0 0,-4-10 577 0 0,6 10-593 0 0,7-9 19 0 0,-7 9 12 0 0,1-1 23 0 0,20-14 228 0 0,1 1-1 0 0,1 2 1 0 0,35-17-1 0 0,-40 22-541 0 0,1 1 0 0 0,0 1 0 0 0,37-7 0 0 0,-44 12-1175 0 0,0 1 0 0 0,21 0 0 0 0,-24 1-1744 0 0,1 1 0 0 0,-1 1 0 0 0,17 4-1 0 0,-12-2-770 0 0</inkml:trace>
</inkml:ink>
</file>

<file path=ppt/ink/ink2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1.27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2 6 8 0 0,'-5'1'1249'0'0,"-1"0"1"0"0,1 0-1 0 0,-8 3 0 0 0,8-3 230 0 0,1 1-1 0 0,-1-1 1 0 0,-12 2 2515 0 0,20-6-3826 0 0,5-6-5 0 0,-6 7-23 0 0,11-1 68 0 0,-11 3-189 0 0,1-1 1 0 0,-1 0-1 0 0,1 1 0 0 0,0 0 0 0 0,0-1 1 0 0,-1 1-1 0 0,4 1 0 0 0,-3-1-12 0 0,2 0 26 0 0,-1 0-1 0 0,1 1 0 0 0,0 0 0 0 0,-1 0 0 0 0,1 0 0 0 0,0 0 0 0 0,7 4 0 0 0,-3 1 56 0 0,-7-5 10 0 0,0 2 10 0 0,7 8-1 0 0,-6-5-2 0 0,-2 0-76 0 0,0 0 1 0 0,-1 1 0 0 0,0-1-1 0 0,0 0 1 0 0,0 0-1 0 0,-1 0 1 0 0,0 0-1 0 0,0 0 1 0 0,-4 9-1 0 0,-23 56 154 0 0,9-27-149 0 0,1 1 19 0 0,-14 40 128 0 0,26-67 236 0 0,1-1 0 0 0,-5 33 1 0 0,10-49-398 0 0,0 0 1 0 0,0 0 0 0 0,0-1 0 0 0,0 1 0 0 0,0 0 0 0 0,0 0-1 0 0,0-1 1 0 0,0 1 0 0 0,0 0 0 0 0,0-1 0 0 0,0 1 0 0 0,1 0-1 0 0,-1 1 1 0 0,2 5 165 0 0,1-5-79 0 0,8 7-5 0 0,-11-9-98 0 0,0 0 0 0 0,0 0 0 0 0,1 0 0 0 0,-1 1 0 0 0,0-1 0 0 0,0 0 0 0 0,0 0 0 0 0,1 0 0 0 0,-1 0 0 0 0,0 0 0 0 0,0 0 0 0 0,1 0 0 0 0,-1 1 0 0 0,0-1 0 0 0,0 0 0 0 0,1 0 0 0 0,-1 0 0 0 0,0 0 0 0 0,0 0 0 0 0,1 0 0 0 0,-1 0 0 0 0,0 0 0 0 0,1 0 0 0 0,14-2 52 0 0,-1-1-1 0 0,1 0 1 0 0,-1-1-1 0 0,0 0 1 0 0,0-1-1 0 0,26-14 0 0 0,21-15-2752 0 0,-4-3-6396 0 0,-38 24 3823 0 0,-2-2 4132 0 0</inkml:trace>
</inkml:ink>
</file>

<file path=ppt/ink/ink2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5.12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2 581 8 0 0,'-13'7'1380'0'0,"13"-7"-1375"0"0,0 1-1 0 0,0-1 1 0 0,0 0 0 0 0,-1 0-1 0 0,1 0 1 0 0,0 0-1 0 0,0 0 1 0 0,0 0 0 0 0,0 1-1 0 0,0-1 1 0 0,0 0-1 0 0,0 0 1 0 0,0 0 0 0 0,0 0-1 0 0,0 1 1 0 0,0-1-1 0 0,0 0 1 0 0,0 0 0 0 0,0 0-1 0 0,0 0 1 0 0,0 1-1 0 0,0-1 1 0 0,0 0 0 0 0,0 0-1 0 0,0 0 1 0 0,0 1-1 0 0,0-1 1 0 0,0 0 0 0 0,0 0-1 0 0,0 0 1 0 0,0 1-1 0 0,0-1 85 0 0,0 0 0 0 0,0 1 0 0 0,1-1 0 0 0,-1 0 1 0 0,0 1-1 0 0,0-1 0 0 0,0 0 0 0 0,0 1 0 0 0,0-1 0 0 0,0 0 0 0 0,0 1 0 0 0,0-1 0 0 0,0 0 0 0 0,0 1 0 0 0,-1-1 0 0 0,1 0 0 0 0,0 1 0 0 0,0-1 0 0 0,0 0 0 0 0,0 1 0 0 0,0-1 0 0 0,-1 0 0 0 0,1 1 0 0 0,0-1 0 0 0,0 0 0 0 0,-1 1 1 0 0,-5 5 188 0 0,10-13 504 0 0,-3 4-698 0 0,1 1-46 0 0,15-22 412 0 0,-15 21-295 0 0,-1 0-9 0 0,57-102 1513 0 0,-20 33-400 0 0,33-88 0 0 0,-34 85-866 0 0,-25 54-329 0 0,-2-1 1 0 0,12-31-1 0 0,-18 30 60 0 0,-3 19-104 0 0,-1 2 28 0 0,0-1 6 0 0,1-7 5 0 0,-1 8 186 0 0,1-1-157 0 0,2-6 0 0 0,-2 7 401 0 0,-3 4-476 0 0,-5 13 1 0 0,0 0-1 0 0,-5 19 1 0 0,5-10-39 0 0,-4 27 362 0 0,-8 81 0 0 0,7-35-40 0 0,4-39 682 0 0,-1 72 1 0 0,13-103-625 0 0,-4-24-363 0 0,1-1 85 0 0,-1 1-50 0 0,1 0-17 0 0,0 0-4 0 0,-1 16 58 0 0,0-13 1056 0 0</inkml:trace>
</inkml:ink>
</file>

<file path=ppt/ink/ink2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5.7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4 67 8 0 0,'-28'3'2191'0'0,"25"-3"-1084"0"0,-18 1 7844 0 0,29-2-6805 0 0,-7 1-2573 0 0,1 0 765 0 0,1-1-12 0 0,96-24 2043 0 0,-4 4-1561 0 0,-35 9-612 0 0,-31 5-110 0 0,-27 6-52 0 0,0 0-3 0 0,-2 1-24 0 0,1 0 1 0 0,-1 0-1 0 0,0 0 0 0 0,0 0 0 0 0,0 0 1 0 0,1-1-1 0 0,-1 1 0 0 0,0 0 1 0 0,0 0-1 0 0,1 0 0 0 0,-1 0 1 0 0,0 0-1 0 0,0 0 0 0 0,1 0 1 0 0,-1 0-1 0 0,0 0 0 0 0,0 0 1 0 0,1 0-1 0 0,-1 0 0 0 0,0 0 1 0 0,0 0-1 0 0,1 0 0 0 0,-1 0 1 0 0,0 0-1 0 0,0 0 0 0 0,1 0 1 0 0,-1 0-1 0 0,0 0 0 0 0,0 1 1 0 0,1-1-1 0 0,-7 7 122 0 0,5-7-157 0 0,1 1 28 0 0,0-1-1 0 0,-1 1 1 0 0,1-1 0 0 0,-1 1-1 0 0,1-1 1 0 0,-1 1 0 0 0,1-1 0 0 0,-1 1-1 0 0,0-1 1 0 0,1 0 0 0 0,-1 1-1 0 0,1-1 1 0 0,-1 0 0 0 0,0 0 0 0 0,1 0-1 0 0,-1 1 1 0 0,-1-1 0 0 0,-6 2-60 0 0,-127 30-1236 0 0,79-21 1279 0 0,42-7 5 0 0,-19 5 9 0 0,22-6 10 0 0,7-2-6 0 0,-15 7-10 0 0,17-8-12 0 0,1 1-6 0 0,1 0 20 0 0,-1 0 0 0 0,1 0 0 0 0,0 0 0 0 0,-1-1 0 0 0,0 1 0 0 0,1 0 1 0 0,-1 0-1 0 0,1-1 0 0 0,-1 1 0 0 0,-1 1 0 0 0,1-2-2 0 0,0 2-51 0 0,3-2-45 0 0,7 2 33 0 0,-1-1 0 0 0,1 0 0 0 0,-1-1 0 0 0,1 0 0 0 0,-1-1-1 0 0,14-1 1 0 0,27-9-2625 0 0,6-3-6172 0 0,-46 12 6763 0 0,7-3-509 0 0</inkml:trace>
</inkml:ink>
</file>

<file path=ppt/ink/ink2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6.2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5 2 8 0 0,'-2'0'2619'0'0,"-4"-1"-2311"0"0,-12 3 7673 0 0,17-1-7947 0 0,1 0 0 0 0,0 0 0 0 0,-1 0 0 0 0,1 0-1 0 0,-1-1 1 0 0,1 1 0 0 0,-1 0 0 0 0,0-1 0 0 0,1 1 0 0 0,-1 0 0 0 0,-1 1 0 0 0,2-2 4 0 0,-2 2 137 0 0,1 0 22 0 0,-3 8 186 0 0,0 1-1 0 0,1-1 1 0 0,1 0 0 0 0,-3 19-1 0 0,-1 49 1057 0 0,5-46-821 0 0,-8 138 1240 0 0,-20 194-991 0 0,27-353-837 0 0,1-1 1 0 0,0 0-1 0 0,1 0 1 0 0,0 1-1 0 0,2 16 1 0 0,-1-25-19 0 0,1 0-214 0 0,-2-2 107 0 0,1 1 27 0 0,0-1-1 0 0,-1 1 1 0 0,1-1-1 0 0,-1 1 1 0 0,1-1-1 0 0,0 1 1 0 0,-1-1-1 0 0,1 1 1 0 0,0-1-1 0 0,-1 0 1 0 0,1 1-1 0 0,1-1 1 0 0,0-3-599 0 0,1-6-1711 0 0,1 0 0 0 0,-1-1 0 0 0,0 0 0 0 0,2-19 0 0 0,-4 19-123 0 0,2-3 131 0 0</inkml:trace>
</inkml:ink>
</file>

<file path=ppt/ink/ink2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6.6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 102 8 0 0,'-5'-1'6862'0'0,"13"-1"-3816"0"0,26-4-2053 0 0,-10 2 29 0 0,82-12 1521 0 0,59-12-1708 0 0,-137 21-965 0 0,47-12-3987 0 0,-26 5-5186 0 0,-33 9 7552 0 0</inkml:trace>
</inkml:ink>
</file>

<file path=ppt/ink/ink2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37.11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2 6 8 0 0,'-13'-6'2946'0'0,"0"7"512"0"0,15 11-2556 0 0,-1-10-453 0 0,0 1 4 0 0,40 54 2992 0 0,-30-40-2960 0 0,-1 1 0 0 0,-1 0 0 0 0,0 0 0 0 0,-1 0 0 0 0,-2 1 0 0 0,0 0 0 0 0,4 24-1 0 0,-1 3 302 0 0,4 95 0 0 0,-12-72-648 0 0,-3 0 0 0 0,-15 92 0 0 0,-48 131 30 0 0,59-271-118 0 0,-1 0-1 0 0,-1 0 0 0 0,0-1 0 0 0,-2 0 0 0 0,-12 20 0 0 0,16-32 13 0 0,-1 1-35 0 0,1-2 19 0 0,-1 1-10 0 0,5-6-17 0 0,0-1-13 0 0,-6 5-20 0 0,5-5-54 0 0,3-4-1463 0 0,-1 3 1491 0 0,1-1 0 0 0,0 1 0 0 0,0 0 0 0 0,0 0 1 0 0,0 0-1 0 0,-1 0 0 0 0,1-1 0 0 0,0 1 0 0 0,0 0 0 0 0,-1 0 1 0 0,-2-4-842 0 0,3-10-4558 0 0</inkml:trace>
</inkml:ink>
</file>

<file path=ppt/ink/ink2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40.12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27 1 8 0 0,'0'0'3453'0'0,"-2"1"-3013"0"0,-2 1 75 0 0,0 1 0 0 0,0 0 0 0 0,-6 5 0 0 0,8-6 163 0 0,-1 1-357 0 0,-6 6-9 0 0,7-7-5 0 0,1-2-262 0 0,0 1 0 0 0,0-1 0 0 0,1 0-1 0 0,-1 1 1 0 0,0-1 0 0 0,1 0 0 0 0,-1 1 0 0 0,0-1 0 0 0,1 1 0 0 0,-1-1 0 0 0,0 1 0 0 0,0 1-1 0 0,0-2 45 0 0,-1 2 278 0 0,0-1 2 0 0,-21 16 954 0 0,20-15-1040 0 0,1 1-8 0 0,-24 21 728 0 0,21-17-864 0 0,0 0 1 0 0,0 1-1 0 0,0-1 1 0 0,1 1 0 0 0,0 0-1 0 0,0 1 1 0 0,1-1-1 0 0,-3 11 1 0 0,0-2 1 0 0,-8 34 291 0 0,1 1-1 0 0,-8 76 1 0 0,14-78-305 0 0,-7 68 34 0 0,13-102-162 0 0,1 0-1 0 0,0 0 1 0 0,2 0 0 0 0,0 0-1 0 0,5 20 1 0 0,-6-32-3 0 0,0 0-1 0 0,0-1 0 0 0,1 1 1 0 0,0 0-1 0 0,0-1 0 0 0,0 1 0 0 0,0-1 1 0 0,0 0-1 0 0,0 0 0 0 0,1 0 1 0 0,0 0-1 0 0,0 0 0 0 0,4 3 1 0 0,-3-3-49 0 0,0-1 1 0 0,1 1-1 0 0,-1-1 1 0 0,1 0-1 0 0,-1-1 1 0 0,1 1-1 0 0,-1-1 1 0 0,1 0-1 0 0,0 0 1 0 0,0 0-1 0 0,0 0 0 0 0,8-1 1 0 0,4-1-677 0 0,1-1-1 0 0,18-3 1 0 0,-20 2 24 0 0,142-25-9937 0 0,-115 19 10090 0 0</inkml:trace>
</inkml:ink>
</file>

<file path=ppt/ink/ink2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45.08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8 0 8 0 0,'-14'9'185'0'0,"-1"6"5559"0"0,13-13-4869 0 0,-9 10 2439 0 0,10-10-2892 0 0,-9 8 985 0 0,9-7-1157 0 0,-6 7-31 0 0,6-8-18 0 0,-1 1-10 0 0,-17 27 549 0 0,10-17-256 0 0,-13 26-1 0 0,22-39-482 0 0,-45 99 1068 0 0,41-87-1001 0 0,0 0 1 0 0,1 0-1 0 0,0 1 0 0 0,1-1 1 0 0,1 1-1 0 0,-1 24 0 0 0,3-24-50 0 0,1 1 0 0 0,0-1-1 0 0,1 0 1 0 0,0 0 0 0 0,7 16-1 0 0,2-2-228 0 0,18 32-1 0 0,-29-56 89 0 0,8 10-285 0 0,0-3-337 0 0,-5-5 36 0 0,-1-1 1 0 0,2 0 0 0 0,-1 1-1 0 0,0-2 1 0 0,1 1 0 0 0,8 5-1 0 0,-10-7-454 0 0,1-1-1 0 0,-1 1 0 0 0,1-1 0 0 0,0 0 0 0 0,-1 0 0 0 0,1 0 0 0 0,7 1 0 0 0,3-1 964 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3:00.09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61 12 8 0 0,'-2'-2'3379'0'0,"-10"-6"-1788"0"0,12 8-1535 0 0,0 0 0 0 0,0 0 0 0 0,0 0 0 0 0,0 0 0 0 0,-1-1 0 0 0,1 1-1 0 0,0 0 1 0 0,0 0 0 0 0,0 0 0 0 0,-1 0 0 0 0,1 0 0 0 0,0 0-1 0 0,0 0 1 0 0,0 0 0 0 0,-1 0 0 0 0,1 0 0 0 0,0 0 0 0 0,0 0 0 0 0,0 0-1 0 0,-1 0 1 0 0,1 0 0 0 0,0 0 0 0 0,0 0 0 0 0,-1 0 0 0 0,-8 2 1112 0 0,-1 0-1 0 0,1 1 1 0 0,0 0 0 0 0,0 1 0 0 0,-13 8 0 0 0,8-4-114 0 0,1 0 1 0 0,-22 21-1 0 0,10-5-335 0 0,1 1 0 0 0,-29 41-1 0 0,36-43-401 0 0,0 1 0 0 0,2 2 0 0 0,1-1-1 0 0,0 1 1 0 0,-15 49 0 0 0,26-59-312 0 0,2-13-42 0 0,4-5-277 0 0,1 0 246 0 0,-3 1 33 0 0,0 1-1 0 0,0-1 1 0 0,0 0 0 0 0,1 1 0 0 0,-1-1-1 0 0,0 0 1 0 0,0 0 0 0 0,0 0 0 0 0,0 0-1 0 0,-1 0 1 0 0,1 0 0 0 0,1-2 0 0 0,46-60-1228 0 0,-25 31 716 0 0,35-39 1 0 0,-49 61 516 0 0,4-3-2 0 0,20-17 0 0 0,-29 27 58 0 0,0 0 1 0 0,0 0-1 0 0,1 0 1 0 0,-1 0 0 0 0,1 1-1 0 0,-1 0 1 0 0,1 0-1 0 0,0 0 1 0 0,10-1-1 0 0,-13 3 11 0 0,0 0 0 0 0,0 0 1 0 0,1 0-1 0 0,-1 0 0 0 0,0 0 0 0 0,0 0 0 0 0,1 1 0 0 0,-1-1 0 0 0,0 1 1 0 0,0 0-1 0 0,0 0 0 0 0,0 0 0 0 0,0 0 0 0 0,0 0 0 0 0,0 0 0 0 0,0 0 1 0 0,0 1-1 0 0,-1-1 0 0 0,1 1 0 0 0,0-1 0 0 0,2 4 0 0 0,0 0 53 0 0,0 1-1 0 0,-1-1 0 0 0,0 1 0 0 0,1 0 0 0 0,-2 0 1 0 0,5 10-1 0 0,22 105 438 0 0,-18-66-559 0 0,-7-41-381 0 0,10 24 1 0 0,-9-27-192 0 0,-5-9 458 0 0,0-1 0 0 0,1 0 1 0 0,-1 0-1 0 0,1 0 0 0 0,0 1 0 0 0,-1-1 0 0 0,1 0 0 0 0,0 0 1 0 0,0 0-1 0 0,0 0 0 0 0,1 1 0 0 0,1 1-271 0 0,-3-3 294 0 0,1 1-1 0 0,-1-1 1 0 0,0 0-1 0 0,1 1 1 0 0,-1-1-1 0 0,0 1 1 0 0,1-1-1 0 0,-1 0 1 0 0,0 1 0 0 0,1-1-1 0 0,-1 0 1 0 0,1 1-1 0 0,-1-1 1 0 0,1 0-1 0 0,-1 0 1 0 0,1 0-1 0 0,-1 1 1 0 0,1-1-1 0 0,-1 0 1 0 0,1 0 0 0 0,-1 0-1 0 0,1 0 1 0 0,1 0-1 0 0,18-27-11093 0 0,-16 17 10298 0 0,1-6 140 0 0</inkml:trace>
</inkml:ink>
</file>

<file path=ppt/ink/ink2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45.95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4 71 8 0 0,'-13'2'0'0'0,"-15"2"9113"0"0,28-6-8509 0 0,-2-9 1592 0 0,3 9-1704 0 0,1-3 28 0 0,1 1-1 0 0,0-1 1 0 0,5-4-1 0 0,-6 6-198 0 0,1 2-42 0 0,2-3-150 0 0,0 1 1 0 0,1 0-1 0 0,-1 1 0 0 0,1-1 0 0 0,-1 1 0 0 0,8-1 0 0 0,50-7 281 0 0,-34 7-134 0 0,1 2 1 0 0,50 4-1 0 0,-76-3-266 0 0,13 3 102 0 0,-14-3-56 0 0,-1 1 0 0 0,1 0-35 0 0,7 1 148 0 0,-8 1-95 0 0,4 6-1 0 0,-4-7 4 0 0,-3 1-4 0 0,-5 24 69 0 0,-4-10-98 0 0,0 1 0 0 0,0-2 1 0 0,-24 28-1 0 0,14-18-19 0 0,-12 18 319 0 0,2 2 0 0 0,1 2 0 0 0,-26 60 0 0 0,54-105-299 0 0,0-2-38 0 0,0 1 0 0 0,1-1-1 0 0,-1 0 1 0 0,1 0 0 0 0,0 1-1 0 0,-1-1 1 0 0,1 0 0 0 0,0 1-1 0 0,0-1 1 0 0,0 0 0 0 0,-1 1-1 0 0,2-1 1 0 0,-1 0 0 0 0,0 1-1 0 0,0 0 1 0 0,3 11 8 0 0,-3-11-15 0 0,1 0 0 0 0,0-1 1 0 0,0 1-1 0 0,0-1 0 0 0,0 1 1 0 0,0-1-1 0 0,2 3 0 0 0,-1-3 0 0 0,-1 1 0 0 0,1-1 0 0 0,0 1-1 0 0,0-1 1 0 0,0 0 0 0 0,3 2 0 0 0,1-1-14 0 0,0 0-1 0 0,1 0 1 0 0,-1 0 0 0 0,1-1-1 0 0,0 0 1 0 0,-1 0-1 0 0,14 0 1 0 0,-1-2-264 0 0,30-4 0 0 0,62-19-3724 0 0,-74 13-575 0 0,-2-1-3421 0 0,-18 5 5411 0 0</inkml:trace>
</inkml:ink>
</file>

<file path=ppt/ink/ink2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47.98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46 8 0 0,'24'17'16077'0'0,"-20"-7"-15895"0"0,-4-8 48 0 0,3-2-174 0 0,6 1-12 0 0,-7-1 1 0 0,1 0-5 0 0,19-1 88 0 0,0-1-1 0 0,36-9 0 0 0,-16 2 93 0 0,81-18 237 0 0,-94 20-393 0 0,-22 5-55 0 0,42-8 39 0 0,-20 5-25 0 0,-27 4-19 0 0,1 1-9 0 0,6-1-1 0 0,-7 1 119 0 0,-4 1-169 0 0,-7 5-9 0 0,6-5-31 0 0,1 0-220 0 0,-7 2 76 0 0,6-2-60 0 0,1-1-507 0 0,-7 2 303 0 0,6-2-73 0 0,-8 6-2807 0 0</inkml:trace>
</inkml:ink>
</file>

<file path=ppt/ink/ink2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0.33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0 0 8 0 0,'-13'5'0'0'0,"-1"6"2246"0"0,12-9-1427 0 0,0-1-568 0 0,0 1 328 0 0,0-1 0 0 0,1 1 0 0 0,-1-1 0 0 0,0 1 0 0 0,1 0 0 0 0,0 0 0 0 0,-1-1 0 0 0,1 1 0 0 0,0 0 0 0 0,0 0 0 0 0,-1 4 0 0 0,2 0 54 0 0,1-1 0 0 0,-1 1 1 0 0,1 0-1 0 0,3 7 1 0 0,-3-11-281 0 0,3 22 283 0 0,-4-21-528 0 0,1-1-9 0 0,7 82 629 0 0,-4-30-446 0 0,3 31 240 0 0,6 139 273 0 0,5 51 123 0 0,-17-271-897 0 0,1 4-4 0 0,-2-5-23 0 0,1-1-24 0 0,0 0-126 0 0,1 3 272 0 0</inkml:trace>
</inkml:ink>
</file>

<file path=ppt/ink/ink2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2.98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0 7 8 0 0,'-12'-5'27'0'0,"10"3"262"0"0,-12 5 5708 0 0,9-1-5154 0 0,-3 2 610 0 0,7-2-913 0 0,-5 9-27 0 0,5-9-23 0 0,0 0-21 0 0,-1 8-28 0 0,1-8-25 0 0,0 1-25 0 0,1 0-272 0 0,-2 8 518 0 0,0 1-1 0 0,1 0 0 0 0,1 0 1 0 0,1 18-1 0 0,6 215 1264 0 0,6 83-1525 0 0,-11-315-360 0 0,25 191 250 0 0,-26-200-239 0 0,1 1-1 0 0,-1-1 0 0 0,5 8 1 0 0,-3-5-1 0 0,-2-5 72 0 0,2 0-62 0 0,6 6-14 0 0,-7-6 26 0 0</inkml:trace>
</inkml:ink>
</file>

<file path=ppt/ink/ink2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3.31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1 114 8 0 0,'-19'0'0'0'0,"-3"7"9545"0"0,40-7-3947 0 0,-6-2-6422 0 0,224-68 4363 0 0,-142 40-3862 0 0,-32 13-4488 0 0,-57 16 2847 0 0,-4 1 1509 0 0,0 0-1 0 0,1-1 0 0 0,-1 1 1 0 0,0 0-1 0 0,1 0 0 0 0,-1 0 1 0 0,0 0-1 0 0,1 1 0 0 0,-1-1 1 0 0,2 1-1 0 0,13 2-5292 0 0</inkml:trace>
</inkml:ink>
</file>

<file path=ppt/ink/ink2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3.72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7 42 8 0 0,'-13'-26'8777'0'0,"11"24"-8143"0"0,-6-7-96 0 0,6 7 319 0 0,-11 0-257 0 0,10 1-364 0 0,-7 4 109 0 0,8-3-237 0 0,0 1-31 0 0,-8 2-33 0 0,8-3-5 0 0,0 2-45 0 0,-6 7-7 0 0,6-7 2 0 0,1-1-6 0 0,1-1 15 0 0,0 1 0 0 0,0 0 0 0 0,0-1 0 0 0,-1 1 0 0 0,1 0 0 0 0,0-1-1 0 0,-1 1 1 0 0,1 0 0 0 0,0-1 0 0 0,-1 1 0 0 0,0 0 0 0 0,0 0-4 0 0,0 1-16 0 0,15 0-627 0 0,-12-4 545 0 0,7-7 3 0 0,-7 7 13 0 0,-1 1 13 0 0,-1 1 69 0 0,0-1 1 0 0,1 0-1 0 0,-1 0 0 0 0,1 0 1 0 0,-1 0-1 0 0,1 1 0 0 0,-1-1 1 0 0,1 0-1 0 0,-1 0 0 0 0,1 1 1 0 0,1-2-1 0 0,-1 2-3 0 0,0-3 113 0 0,-1 3-100 0 0,-1 0-1 0 0,1 0 1 0 0,0 1 0 0 0,-1-1-1 0 0,1 0 1 0 0,0 0-1 0 0,0 0 1 0 0,-1 0 0 0 0,1 0-1 0 0,0 0 1 0 0,-1 0 0 0 0,1 1-1 0 0,0-1 1 0 0,0 0-1 0 0,-1 0 1 0 0,1 0 0 0 0,0 1-1 0 0,0-1 1 0 0,-1 0 0 0 0,1 0-1 0 0,0 1 1 0 0,0-1-1 0 0,0 0 1 0 0,-1 1 0 0 0,1-1-1 0 0,0 1 0 0 0,0-1 0 0 0,0 0 0 0 0,0 0 0 0 0,-1 1 0 0 0,1-1 0 0 0,0 0 0 0 0,0 1 0 0 0,0-1 0 0 0,-1 0 0 0 0,1 0 0 0 0,0 0 0 0 0,0 1 0 0 0,-1-1-1 0 0,1 0 1 0 0,0 0 0 0 0,-1 0 0 0 0,1 0 0 0 0,0 1 0 0 0,0-1 0 0 0,-1 0 0 0 0,1 0 0 0 0,0 0 0 0 0,-1 0 0 0 0,1 0 0 0 0,-1 0 0 0 0,0 2 27 0 0,-6 7-22 0 0,6-7-21 0 0,0 0-22 0 0,-2 6-73 0 0,2-6-145 0 0</inkml:trace>
</inkml:ink>
</file>

<file path=ppt/ink/ink2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4.3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3 6 8 0 0,'-2'-1'1475'0'0,"-1"0"-748"0"0,0 0 1 0 0,0 0-1 0 0,1 1 0 0 0,-1-1 1 0 0,0 1-1 0 0,0 0 0 0 0,0 0 0 0 0,0 0 1 0 0,0 0-1 0 0,-6 2 0 0 0,-2-1 131 0 0,9-1-262 0 0,0 0-101 0 0,-25 6 485 0 0,24-5-907 0 0,2-1-68 0 0,1 0 1 0 0,-1 1-1 0 0,0-1 0 0 0,0 0 0 0 0,0 1 0 0 0,0-1 0 0 0,0 0 0 0 0,0 1 1 0 0,1-1-1 0 0,-1 1 0 0 0,0-1 0 0 0,-1 2 0 0 0,1-1 4 0 0,-19 11 57 0 0,11-7-67 0 0,0 1 1 0 0,0 0-1 0 0,1 0 1 0 0,0 1-1 0 0,0 1 0 0 0,1-1 1 0 0,-11 14-1 0 0,14-15 4 0 0,-64 86 1008 0 0,59-77-572 0 0,0 1-1 0 0,1 0 1 0 0,0 1-1 0 0,-6 22 1 0 0,9-22-127 0 0,1 1 1 0 0,1-1-1 0 0,0 1 1 0 0,0 19-1 0 0,3-27-257 0 0,0 0-1 0 0,1 1 0 0 0,0-1 0 0 0,1 0 1 0 0,0 0-1 0 0,1 0 0 0 0,0 0 1 0 0,6 13-1 0 0,-7-18-53 0 0,1 0 1 0 0,-1 0 0 0 0,1 0-1 0 0,0 0 1 0 0,1-1 0 0 0,-1 0-1 0 0,1 1 1 0 0,0-2 0 0 0,0 1-1 0 0,0 0 1 0 0,6 3-1 0 0,-7-4-89 0 0,2-1 0 0 0,-1 0-1 0 0,0 0 1 0 0,0-1-1 0 0,1 1 1 0 0,-1-1-1 0 0,1 0 1 0 0,-1 0 0 0 0,1-1-1 0 0,-1 1 1 0 0,1-1-1 0 0,0 0 1 0 0,-1 0-1 0 0,6-1 1 0 0,5-1-1629 0 0,-1-1-1 0 0,29-9 1 0 0,26-17-8991 0 0,-51 20 10003 0 0</inkml:trace>
</inkml:ink>
</file>

<file path=ppt/ink/ink2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5.21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5 71 8 0 0,'-18'-1'12122'0'0,"11"-1"-10820"0"0,8 0-746 0 0,2-1-341 0 0,-1 0 1 0 0,0 0-1 0 0,1 0 0 0 0,-1 0 0 0 0,1 1 0 0 0,0-1 0 0 0,0 1 1 0 0,0-1-1 0 0,0 1 0 0 0,0 0 0 0 0,5-2 0 0 0,5-1 197 0 0,22-8-1 0 0,12 2-188 0 0,-40 9-213 0 0,12 0-7 0 0,2 2 5 0 0,-12 2-6 0 0,1 0 1 0 0,17 6-1 0 0,-25-8-10 0 0,-1 1 7 0 0,-1-1 1 0 0,0 0 0 0 0,1 0-1 0 0,-1 0 1 0 0,0 0-1 0 0,1 0 1 0 0,-1 0-1 0 0,0 0 1 0 0,1 0 0 0 0,-1 0-1 0 0,0 1 1 0 0,1-1-1 0 0,-1 0 1 0 0,0 0 0 0 0,0 0-1 0 0,1 1 1 0 0,-1-1-1 0 0,0 0 1 0 0,0 0 0 0 0,0 1-1 0 0,1-1 1 0 0,-1 0-1 0 0,0 0 1 0 0,0 1 0 0 0,0-1-1 0 0,1 1 0 0 0,-1-1 0 0 0,0 0-1 0 0,0 1 1 0 0,0-1 0 0 0,0 0 0 0 0,1 0-1 0 0,-1 1 1 0 0,0-1 0 0 0,0 0 0 0 0,0 0 0 0 0,1 1-1 0 0,-1-1 1 0 0,0 0 0 0 0,1 0 0 0 0,-1 0-1 0 0,0 0 1 0 0,0 1 0 0 0,1-1 0 0 0,-1 0-1 0 0,0 0 1 0 0,1 0 0 0 0,-1 0 0 0 0,0 0 0 0 0,1 0-1 0 0,-1 0 1 0 0,1 3-22 0 0,4 7-9 0 0,-4-8-8 0 0,-2 1-6 0 0,-3 5 3 0 0,0 0 1 0 0,0-1-1 0 0,-1 1 0 0 0,0-1 1 0 0,-1 0-1 0 0,0-1 1 0 0,-12 12-1 0 0,12-12 49 0 0,-1 0 1 0 0,-33 27 25 0 0,-3 5 250 0 0,41-36-199 0 0,-1 1-8 0 0,-7 6-2 0 0,8-7 234 0 0,2 0-286 0 0,3 7 1 0 0,-3-9-22 0 0,0 0 0 0 0,0 0 1 0 0,0 0-1 0 0,0 0 1 0 0,0 0-1 0 0,0 0 1 0 0,0 1-1 0 0,0-1 0 0 0,0 0 1 0 0,0 0-1 0 0,0 0 1 0 0,0 0-1 0 0,0 0 1 0 0,1 0-1 0 0,-1 0 0 0 0,0 0 1 0 0,0 0-1 0 0,0 0 1 0 0,0 1-1 0 0,0-1 1 0 0,0 0-1 0 0,0 0 0 0 0,0 0 1 0 0,0 0-1 0 0,0 0 1 0 0,0 0-1 0 0,1 0 1 0 0,-1 0-1 0 0,0 0 1 0 0,0 0-1 0 0,0 0 0 0 0,0 0 1 0 0,0 0-1 0 0,0 0 1 0 0,0 0-1 0 0,0 0 1 0 0,1 0-1 0 0,-1 0 0 0 0,0 0 1 0 0,30 2 43 0 0,-17-2-22 0 0,28 5 0 0 0,-33-4-22 0 0,-1 1 0 0 0,1 0-1 0 0,-1 0 1 0 0,0 1 0 0 0,1 0 0 0 0,-1 0 0 0 0,-1 1 0 0 0,10 6 0 0 0,-12-8 1 0 0,-2-1-1 0 0,-1 0 1 0 0,1 0 0 0 0,-1 0-1 0 0,1 0 1 0 0,-1 0-1 0 0,0 0 1 0 0,0 0 0 0 0,1 0-1 0 0,-1 1 1 0 0,1 1 0 0 0,3 3-4 0 0,-1 0 1 0 0,0 0 0 0 0,-1 0 0 0 0,1 0-1 0 0,-1 1 1 0 0,0 0 0 0 0,-1-1 0 0 0,0 1 0 0 0,3 13-1 0 0,-3-6 10 0 0,-1 0 0 0 0,0 0-1 0 0,0-1 1 0 0,-3 23-1 0 0,0-23 50 0 0,1 0 0 0 0,-2 0 0 0 0,1 0-1 0 0,-2 0 1 0 0,0-1 0 0 0,0 1 0 0 0,-2-1 0 0 0,1 0-1 0 0,-1 0 1 0 0,-1-1 0 0 0,0 0 0 0 0,-11 14 0 0 0,16-23-9 0 0,1-1 1 0 0,-1 1-1 0 0,0 0 0 0 0,1 0 1 0 0,-1-1-1 0 0,-3 3 1 0 0,-9 6 264 0 0,10-6-249 0 0,2-3-30 0 0,0 1 0 0 0,1-1 0 0 0,-1 0 0 0 0,0 1 0 0 0,0-1 1 0 0,0 0-1 0 0,-4 2 0 0 0,4-2-18 0 0,-1 1 22 0 0,0-1 1 0 0,1 1-1 0 0,-1-1 0 0 0,0 0 0 0 0,0 1 0 0 0,-1-2 0 0 0,1 1 0 0 0,0 0 1 0 0,-5 0-1 0 0,-2-1 24 0 0,7 0-25 0 0,0-1-13 0 0,-8-4-19 0 0,8 4-46 0 0,1-1-92 0 0,-6-7-144 0 0,6 6-214 0 0,1 0-291 0 0,-1-2 749 0 0,-4-16-8606 0 0</inkml:trace>
</inkml:ink>
</file>

<file path=ppt/ink/ink2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5.73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1 1 8 0 0,'-3'0'1802'0'0,"-25"12"5038"0"0,26-10-6121 0 0,-7 8-109 0 0,7-8-123 0 0,0 0-330 0 0,0 1-1 0 0,1-1 0 0 0,-1 1 1 0 0,1-1-1 0 0,0 1 1 0 0,-1 4-1 0 0,1-5-177 0 0,0 0 65 0 0,1 0-23 0 0,-1 7-28 0 0,1-7-27 0 0,2-3-258 0 0,7-2 138 0 0,-6 3-20 0 0,-3-1 149 0 0,0 0 0 0 0,1 1 0 0 0,-1-1 0 0 0,1 1 0 0 0,0-1 0 0 0,-1 1 0 0 0,1-1 0 0 0,-1 1 0 0 0,1-1 0 0 0,0 1 0 0 0,-1-1 0 0 0,2 1 0 0 0,0-1-34 0 0,0-1-143 0 0,0 0 16 0 0,18-19-323 0 0,-18 19 469 0 0,-2 1 37 0 0,0 0 7 0 0,0 1 1 0 0,0-1-1 0 0,0 0 1 0 0,1 0-1 0 0,-1 1 0 0 0,0-1 1 0 0,0 0-1 0 0,1 1 1 0 0,-1-1-1 0 0,1-1 0 0 0,0 0 10 0 0,0 0 218 0 0,-3 2-73 0 0,-1 0-36 0 0,0 1 0 0 0,1-1 0 0 0,-1 1-1 0 0,0 0 1 0 0,1 0 0 0 0,-1 0 0 0 0,0 0 0 0 0,1 0 0 0 0,-1 1 0 0 0,1-1 0 0 0,0 1 0 0 0,-3 1 0 0 0,-6 6 617 0 0,-11 12 1 0 0,14-13-303 0 0,0 1-200 0 0,6-6-88 0 0,-13 25 236 0 0,14-25-389 0 0,0-1 1 0 0,1 1-1 0 0,-1 0 0 0 0,1-1 0 0 0,0 1 0 0 0,0 0 0 0 0,0 0 0 0 0,0-1 0 0 0,0 1 0 0 0,1 3 0 0 0,-1-3-26 0 0,0-2 1 0 0,0-1 0 0 0,0 1 0 0 0,1 0 0 0 0,-1-1 0 0 0,0 1 0 0 0,0 0 0 0 0,0-1 0 0 0,0 1 0 0 0,0-1 0 0 0,1 1 0 0 0,-1 0 0 0 0,0-1 0 0 0,1 1 0 0 0,-1-1 0 0 0,0 1 0 0 0,1-1 0 0 0,-1 1 0 0 0,1 0 0 0 0,0 0-135 0 0,0 0 56 0 0,-1 0-1 0 0,0-1 1 0 0,1 1-1 0 0,-1 0 1 0 0,1-1-1 0 0,-1 1 1 0 0,1-1-1 0 0,-1 1 0 0 0,1-1 1 0 0,-1 1-1 0 0,1-1 1 0 0,0 1-1 0 0,-1-1 1 0 0,1 1-1 0 0,0-1 1 0 0,0 1-1 0 0,1 0-375 0 0,12 5-5708 0 0,-13-6 5847 0 0,2-1 0 0 0,16 1-4066 0 0</inkml:trace>
</inkml:ink>
</file>

<file path=ppt/ink/ink2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6.82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7 40 8 0 0,'-4'-27'9925'0'0,"2"25"-9272"0"0,2 1-510 0 0,-1 1-74 0 0,0-1 1 0 0,1 1 0 0 0,-1-1 0 0 0,1 1 0 0 0,-1-1 0 0 0,1 0 0 0 0,-1 1 0 0 0,1-1 0 0 0,0 0-1 0 0,-1 0 1 0 0,1 1 0 0 0,-1-2 0 0 0,-1 2 390 0 0,-6 0-12 0 0,6 0-5 0 0,-1 0 1 0 0,-7 1-13 0 0,7-1-27 0 0,1 1-43 0 0,-9 3-38 0 0,8-3-25 0 0,0 0-17 0 0,-8 5-10 0 0,8-5-13 0 0,1 1-2 0 0,-7 5-1 0 0,6-5-4 0 0,1-1-115 0 0,0 0 1 0 0,0 1-1 0 0,0-1 1 0 0,0 0-1 0 0,0 1 1 0 0,0-1-1 0 0,1 1 1 0 0,-1 0-1 0 0,0 0 1 0 0,-1 2-1 0 0,2-3-207 0 0,-1 1 557 0 0,0 0-358 0 0,-6 6-13 0 0,6-7 645 0 0,2-3-753 0 0,-1-7-7 0 0,0 6-1 0 0,3 2-29 0 0,7-7 22 0 0,-7 6 0 0 0,40 0-1056 0 0,-42 4 1016 0 0,3 6 1 0 0,-2-6 6 0 0,-3-1-248 0 0,0 0 197 0 0,1 0 0 0 0,-1 0 0 0 0,1 0 0 0 0,-1 0 1 0 0,1 0-1 0 0,0 0 0 0 0,0 0 0 0 0,0 0 0 0 0,-1 1 1 0 0,1-1-1 0 0,-1 2 0 0 0,1-1-125 0 0,2 9-3008 0 0,0-9 3088 0 0,-5 4-2207 0 0,-4 11-4212 0 0,7-15 5673 0 0,-1 6-2736 0 0,2-7 3597 0 0,0 0 0 0 0,0 0 0 0 0,1 1 0 0 0,-1-1 19 0 0,1 0 0 0 0,0 0 0 0 0,-1 0 0 0 0,1 0 0 0 0,0 0 1 0 0,0 0-1 0 0,0-1 0 0 0,0 1 0 0 0,-1 0 0 0 0,2 0 0 0 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3:00.5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2 24 464 0 0,'-7'-6'2237'0'0,"0"1"-1"0"0,-10-6 1 0 0,10 9-690 0 0,-5 2-330 0 0,6 2-135 0 0,3-1-752 0 0,2 0-226 0 0,0-1 1 0 0,0 1-1 0 0,0-1 0 0 0,0 1 1 0 0,0-1-1 0 0,0 1 1 0 0,0-1-1 0 0,0 1 0 0 0,0 0 1 0 0,1 0-1 0 0,-1-1 1 0 0,0 1-1 0 0,0 0 0 0 0,1 0 1 0 0,-2 1-1 0 0,-4 7 327 0 0,0-1 0 0 0,1 1 0 0 0,0 1 0 0 0,1-1 0 0 0,-1 1 0 0 0,2-1 0 0 0,-5 18 0 0 0,3-1-220 0 0,2 0 0 0 0,1 1 0 0 0,1-1 0 0 0,5 50 1 0 0,25 105-345 0 0,0-10-1096 0 0,-24-78 150 0 0,-5-79 1023 0 0,0 0 1 0 0,-2 0-1 0 0,0 0 0 0 0,-5 20 0 0 0,1-21 171 0 0,4-10-87 0 0,1 0 62 0 0,-1-2-1 0 0,-7 2-44 0 0,9-3-46 0 0,0 0-1 0 0,0 0 0 0 0,0 0 1 0 0,0 1-1 0 0,0-1 0 0 0,-1 0 1 0 0,1 0-1 0 0,0 0 0 0 0,0 0 1 0 0,0 0-1 0 0,0 0 0 0 0,0 0 1 0 0,0 0-1 0 0,-1 0 0 0 0,1 0 1 0 0,0 0-1 0 0,0 0 0 0 0,0 0 1 0 0,0 0-1 0 0,0 0 0 0 0,0 0 1 0 0,0 0-1 0 0,-1 0 0 0 0,1-1 1 0 0,0 1-1 0 0,0 0 0 0 0,0 0 1 0 0,0 0-1 0 0,0 0 0 0 0,0 0 1 0 0,0 0-1 0 0,-1 0 0 0 0,1 0 1 0 0,0 0-1 0 0,0 0 1 0 0,0-1-1 0 0,0 1 0 0 0,0 0 1 0 0,0 0-1 0 0,0 0 0 0 0,-3-2-41 0 0,2 1 22 0 0,0 1 1 0 0,1-1-1 0 0,-1 0 1 0 0,0 1 0 0 0,0-1-1 0 0,0 0 1 0 0,1 0 0 0 0,-1 1-1 0 0,0-1 1 0 0,1 0-1 0 0,-1 0 1 0 0,1 0 0 0 0,-1 0-1 0 0,0-1 1 0 0,-12-29-992 0 0,1-1 1 0 0,1 0 0 0 0,2-1-1 0 0,-7-45 1 0 0,15 73 735 0 0,0 1 0 0 0,1 0 1 0 0,0 0-1 0 0,0-1 1 0 0,0 1-1 0 0,1 0 0 0 0,-1-1 1 0 0,1 1-1 0 0,0 0 0 0 0,1 0 1 0 0,-1 0-1 0 0,0 0 0 0 0,1 0 1 0 0,0 0-1 0 0,0 0 1 0 0,0 0-1 0 0,1 1 0 0 0,3-5 1 0 0,-3 4 164 0 0,0 1 1 0 0,0 1 0 0 0,1-1 0 0 0,-1 0 0 0 0,1 1-1 0 0,-1 0 1 0 0,9-4 0 0 0,27-8-75 0 0,-20 10 307 0 0,1 0 0 0 0,1 2 0 0 0,-1 1-1 0 0,0 0 1 0 0,0 1 0 0 0,23 4 0 0 0,-22-2 779 0 0,-1 0-1 0 0,1 2 0 0 0,-1 1 0 0 0,22 7 1 0 0,-34-9-446 0 0,-1 0 1 0 0,1 1-1 0 0,-1 0 1 0 0,1 0-1 0 0,-1 0 1 0 0,0 1 0 0 0,-1 0-1 0 0,1 0 1 0 0,-1 1-1 0 0,0 0 1 0 0,0 0-1 0 0,9 13 1 0 0,-11-13-330 0 0,0 0 1 0 0,-1 1-1 0 0,0-1 1 0 0,0 1-1 0 0,-1-1 0 0 0,0 1 1 0 0,0 0-1 0 0,0 0 1 0 0,-1 0-1 0 0,0 0 1 0 0,0 0-1 0 0,-1 0 1 0 0,0 0-1 0 0,0 0 0 0 0,0 1 1 0 0,-1-1-1 0 0,0 0 1 0 0,-1 0-1 0 0,0-1 1 0 0,-3 11-1 0 0,-1-2-89 0 0,-1 0 0 0 0,0 0-1 0 0,-10 14 1 0 0,12-21 5 0 0,-1-1 0 0 0,1 0 0 0 0,-1 0 0 0 0,-1 0 0 0 0,1 0 0 0 0,-13 8 0 0 0,2-5 128 0 0,12-8-138 0 0,-2 0 40 0 0,-6-3-68 0 0,7-1-97 0 0,4 0 29 0 0,1 2 36 0 0,0-1 1 0 0,0 1-1 0 0,1 0 1 0 0,-1-1-1 0 0,0 1 1 0 0,0-1-1 0 0,1 0 1 0 0,-1 1-1 0 0,0-1 0 0 0,1 0 1 0 0,-1 1-1 0 0,1-1 1 0 0,-1 0-1 0 0,1 0 1 0 0,-1 1-1 0 0,1-1 1 0 0,-1 0-1 0 0,1-1 1 0 0,-9-16-1714 0 0,-10-33 1 0 0,11 22-4177 0 0,-8-58 1 0 0,13 52 3874 0 0</inkml:trace>
</inkml:ink>
</file>

<file path=ppt/ink/ink2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7.52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7 27 8 0 0,'-7'-27'11685'0'0,"20"27"-10218"0"0,-12 3-1283 0 0,1 1-9 0 0,-1 0 1 0 0,0 0-1 0 0,0 0 0 0 0,-1 1 0 0 0,1-1 0 0 0,-1 0 1 0 0,0 8-1 0 0,-6 81 1958 0 0,1-38-1340 0 0,-19 215 614 0 0,12-141-1327 0 0,-11 42 10 0 0,10-82-343 0 0,13-86 129 0 0,-1 0-31 0 0,0 5-41 0 0,1-6-62 0 0,-4-105-16930 0 0,4 86 16121 0 0</inkml:trace>
</inkml:ink>
</file>

<file path=ppt/ink/ink2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7.86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 95 8 0 0,'-31'-4'11130'0'0,"31"3"-11032"0"0,1 0-1 0 0,-1 1 1 0 0,0-1-1 0 0,0 0 1 0 0,1 1-1 0 0,-1-1 1 0 0,0 0-1 0 0,1 1 1 0 0,-1-1-1 0 0,0 1 1 0 0,1-1-1 0 0,0-1 0 0 0,0 1 105 0 0,-1 1-175 0 0,0 0 1 0 0,0 0-1 0 0,1-1 1 0 0,-1 1-1 0 0,0 0 1 0 0,0 0-1 0 0,0 0 1 0 0,1-1-1 0 0,-1 1 1 0 0,0 0-1 0 0,0 0 1 0 0,0 0-1 0 0,1 0 0 0 0,-1 0 1 0 0,0-1-1 0 0,0 1 1 0 0,1 0-1 0 0,-1 0 1 0 0,0 0-1 0 0,0 0 1 0 0,1 0-1 0 0,-1 0 1 0 0,58-19 1206 0 0,0 3 1 0 0,87-12 0 0 0,-89 21-3489 0 0,69 0 0 0 0,-116 8 1607 0 0,28 2-10373 0 0,-33-2 10260 0 0</inkml:trace>
</inkml:ink>
</file>

<file path=ppt/ink/ink2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2:58.28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5 0 1872 0 0,'-27'20'15212'0'0,"30"-20"-15104"0"0,30 5 394 0 0,-24-4-405 0 0,-1 0-1 0 0,1 0 0 0 0,0 1 1 0 0,12 4-1 0 0,8 6 121 0 0,-26-11-167 0 0,-1 2-9 0 0,9 8 0 0 0,-8-6 1 0 0,1 10-21 0 0,-4-8-15 0 0,0-1-1 0 0,0 1 1 0 0,0-1 0 0 0,-1 1-1 0 0,0-1 1 0 0,0 0 0 0 0,-1 0-1 0 0,0 1 1 0 0,-4 9 0 0 0,-5 8 10 0 0,-15 24 0 0 0,14-26-17 0 0,-104 206 1591 0 0,113-222-1502 0 0,1-4-38 0 0,1 0 1 0 0,0 0 0 0 0,0 1 0 0 0,0-1-1 0 0,0 0 1 0 0,0 1 0 0 0,1-1 0 0 0,-1 1-1 0 0,1-1 1 0 0,-1 1 0 0 0,1-1 0 0 0,0 1 0 0 0,0-1-1 0 0,0 1 1 0 0,1 4 0 0 0,3 3 108 0 0,-3-7-6 0 0,2-2-30 0 0,10 7-29 0 0,-12-8-87 0 0,0 1 0 0 0,0 0-1 0 0,0-1 1 0 0,0 1-1 0 0,0-1 1 0 0,0 0 0 0 0,0 1-1 0 0,0-1 1 0 0,0 0 0 0 0,0 0-1 0 0,0 0 1 0 0,0 0-1 0 0,0 0 1 0 0,0 0 0 0 0,2 0-1 0 0,2 0 11 0 0,3 0 2 0 0,1 0-1 0 0,0 0 1 0 0,-1-1-1 0 0,1 0 1 0 0,11-4-1 0 0,40-14-62 0 0,-52 16 22 0 0,104-39-1929 0 0,-57 21-2630 0 0,0 1-5634 0 0,-32 12 5107 0 0</inkml:trace>
</inkml:ink>
</file>

<file path=ppt/ink/ink2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15.13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48 20 8 0 0,'-9'-13'10716'0'0,"6"10"-10018"0"0,-3-1-85 0 0,4 5-333 0 0,-7 2 10 0 0,7-3 455 0 0,0 1-320 0 0,-7 2 19 0 0,6-3-1 0 0,1 1-22 0 0,-1 0-99 0 0,-1-1 0 0 0,0 1 0 0 0,1-1 0 0 0,-1 0 0 0 0,-6-1 0 0 0,1 1-83 0 0,-1 0 0 0 0,-10 1 0 0 0,14 0-226 0 0,-7 1-9 0 0,-5 3 3 0 0,14-2-8 0 0,3-1 0 0 0,-6 2-5 0 0,0 0 5 0 0,2 1-5 0 0,-7 6 3 0 0,-3 5-2 0 0,3-1 3 0 0,1-1 1 0 0,0 1-1 0 0,1 1 0 0 0,1 0 1 0 0,-12 28-1 0 0,8-11-23 0 0,-18 70 0 0 0,22-63 23 0 0,2 1-1 0 0,1 0 1 0 0,1 52 0 0 0,5-83 55 0 0,0 0 1 0 0,1 0 0 0 0,1 1-1 0 0,0-1 1 0 0,0 0-1 0 0,1 0 1 0 0,1 0-1 0 0,-1-1 1 0 0,1 1 0 0 0,1-1-1 0 0,0 0 1 0 0,0 0-1 0 0,1-1 1 0 0,0 1-1 0 0,0-1 1 0 0,15 13 0 0 0,18 14-459 0 0,54 34 0 0 0,-46-35-2852 0 0,0 2-3996 0 0,-17-11 667 0 0,-14-12 5925 0 0</inkml:trace>
</inkml:ink>
</file>

<file path=ppt/ink/ink2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16.32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7 91 8 0 0,'-19'-1'-10'0'0,"14"2"17"0"0,2 1 49 0 0,-18 4 2160 0 0,-4 2 3061 0 0,-4-8-72 0 0,26-1-4680 0 0,-6-4-75 0 0,7 3 464 0 0,2 2-898 0 0,0-1 0 0 0,0 1-1 0 0,0 0 1 0 0,0-1-1 0 0,0 1 1 0 0,0-1-1 0 0,0 1 1 0 0,0 0-1 0 0,0-1 1 0 0,1 1 0 0 0,-1 0-1 0 0,0-1 1 0 0,0 1-1 0 0,0 0 1 0 0,1-1-1 0 0,-1 1 1 0 0,0 0-1 0 0,0-1 1 0 0,1 1 0 0 0,-1 0-1 0 0,1-1 1 0 0,-1 1 0 0 0,0 0-1 0 0,0-1 1 0 0,1 1 0 0 0,-1 0 0 0 0,0 0-1 0 0,0-1 1 0 0,1 1 0 0 0,-1 0 0 0 0,0-1-1 0 0,0 1 1 0 0,0-1 0 0 0,0 1 0 0 0,0 0-1 0 0,1-1 1 0 0,-1 1 0 0 0,0 0 0 0 0,0-1-1 0 0,0 1 1 0 0,0-1 0 0 0,2-1 196 0 0,47-34 679 0 0,-37 29-715 0 0,0 1 1 0 0,1 1-1 0 0,0 0 0 0 0,0 0 1 0 0,24-4-1 0 0,-17 5-94 0 0,0 2 1 0 0,0 0 0 0 0,25 2-1 0 0,-36 0-68 0 0,-1 1-1 0 0,0 0 1 0 0,1 1 0 0 0,-1-1-1 0 0,0 2 1 0 0,0-1-1 0 0,0 1 1 0 0,-1 0 0 0 0,13 8-1 0 0,-19-11-10 0 0,1 1-1 0 0,-1 0 0 0 0,0-1 1 0 0,0 1-1 0 0,0 0 0 0 0,0 0 1 0 0,0 0-1 0 0,0 0 0 0 0,0 0 1 0 0,0 0-1 0 0,1 1 0 0 0,0 1 2 0 0,-1-2-2 0 0,0 0-1 0 0,0-1 1 0 0,-1 1-1 0 0,1 0 1 0 0,0 0-1 0 0,-1-1 1 0 0,1 1-1 0 0,-1 0 1 0 0,1 0-1 0 0,-1 0 1 0 0,1 0-1 0 0,-1 0 1 0 0,0 0-1 0 0,0 0 1 0 0,1 1-1 0 0,0 1 2 0 0,-1-2-3 0 0,1 0 0 0 0,-1 1 0 0 0,1-1 0 0 0,-1 0 0 0 0,1 0 0 0 0,-1 1 0 0 0,0-1 0 0 0,1 0 0 0 0,-1 1 0 0 0,0-1 0 0 0,0 0 0 0 0,0 3 0 0 0,-1 1 0 0 0,2 2-8 0 0,-2-1 1 0 0,1 1-1 0 0,-1 0 0 0 0,0-1 0 0 0,0 1 1 0 0,0-1-1 0 0,-4 9 0 0 0,-20 43-10 0 0,15-38 31 0 0,-126 237 61 0 0,108-205 229 0 0,2 2 0 0 0,-28 83 0 0 0,48-117-154 0 0,0 0-1 0 0,-5 35 0 0 0,10-54-145 0 0,1 0 0 0 0,0 0 0 0 0,0 0 0 0 0,0 0 0 0 0,0 0 0 0 0,0 0-1 0 0,0 0 1 0 0,1 0 0 0 0,-1 0 0 0 0,0 0 0 0 0,0 0 0 0 0,2 2 0 0 0,-1 0 2 0 0,-1-2-3 0 0,0 0-1 0 0,0 0 1 0 0,0-1-1 0 0,1 1 1 0 0,-1 0-1 0 0,0 0 1 0 0,0-1-1 0 0,1 1 1 0 0,-1 0-1 0 0,1 0 1 0 0,-1-1-1 0 0,0 1 1 0 0,1 0-1 0 0,-1-1 1 0 0,1 1-1 0 0,0-1 1 0 0,0 1-1 0 0,1 1 4 0 0,-1 0-2 0 0,0-1 0 0 0,1 1 0 0 0,-1-1 0 0 0,1 0 0 0 0,0 0 0 0 0,-1 1 0 0 0,1-1 0 0 0,0 0 0 0 0,0 0 0 0 0,-1-1 0 0 0,1 1 0 0 0,0 0 0 0 0,0-1 0 0 0,3 2 0 0 0,0-1 2 0 0,0-1 1 0 0,-1 1-1 0 0,1-1 1 0 0,0 0-1 0 0,4 0 1 0 0,14-4-312 0 0,-1 0 1 0 0,30-11-1 0 0,-17 5-2854 0 0,1 1-4101 0 0,-22 6 2822 0 0,1-1 718 0 0</inkml:trace>
</inkml:ink>
</file>

<file path=ppt/ink/ink2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16.78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2 47 8 0 0,'-29'18'13908'0'0,"29"-20"-13876"0"0,0 0 0 0 0,1 0 0 0 0,0 0 0 0 0,-1-1 0 0 0,1 1 0 0 0,0 0 0 0 0,0 0 0 0 0,0 0 0 0 0,2-2 0 0 0,-3 3-34 0 0,2-1 62 0 0,-2 2-55 0 0,0-1 0 0 0,0 1 0 0 0,0-1 0 0 0,0 1 0 0 0,0 0 0 0 0,0-1 0 0 0,0 1 0 0 0,0 0 0 0 0,0-1 0 0 0,0 1 0 0 0,1-1 0 0 0,-1 1 0 0 0,0 0 0 0 0,0-1 0 0 0,0 1 0 0 0,1 0 0 0 0,-1 0 0 0 0,0-1 0 0 0,1 1 0 0 0,5-9 219 0 0,-2 1-138 0 0,-3 6 116 0 0,-1-1-175 0 0,0-5 2 0 0,0 6 52 0 0,-2 2-66 0 0,-7 0-4 0 0,8 0-11 0 0,1 0 1 0 0,-1 0 0 0 0,0 0 0 0 0,1 0 0 0 0,-1 0-1 0 0,0 0 1 0 0,1 1 0 0 0,-1-1 0 0 0,0 0 0 0 0,1 0-1 0 0,-1 1 1 0 0,0-1 0 0 0,1 0 0 0 0,-1 1 0 0 0,1-1-1 0 0,-1 1 1 0 0,0 0 0 0 0,0 0 1 0 0,-2 0 4 0 0,3 0-4 0 0,-1 0-1 0 0,1 0 0 0 0,0-1 0 0 0,-1 1 1 0 0,1 0-1 0 0,-1 0 0 0 0,0-1 1 0 0,1 1-1 0 0,-1 0 0 0 0,1-1 0 0 0,-3 2 1 0 0,3-2 0 0 0,-2 2 15 0 0,1 0 10 0 0,-6 9 28 0 0,4-7-5 0 0,-2 7-27 0 0,4-10-25 0 0,1 0 1 0 0,-1 0 0 0 0,1 0 0 0 0,-1-1 0 0 0,1 1-1 0 0,0 0 1 0 0,-1 0 0 0 0,1 0 0 0 0,0 0-1 0 0,0 0 1 0 0,0 0 0 0 0,0 0 0 0 0,0 1 0 0 0,0 1-53 0 0,0-3 48 0 0,0 1-1 0 0,0-1 1 0 0,0 0 0 0 0,0 0-1 0 0,0 1 1 0 0,0-1 0 0 0,0 0 0 0 0,0 1-1 0 0,0-1 1 0 0,1 0 0 0 0,-1 0-1 0 0,0 1 1 0 0,0-1 0 0 0,0 0 0 0 0,1 0-1 0 0,-1 1 1 0 0,0-1 0 0 0,0 0-1 0 0,0 0 1 0 0,1 0 0 0 0,-1 0 0 0 0,0 1-1 0 0,0-1 1 0 0,1 0 0 0 0,0 0-1 0 0,-1 0-22 0 0,0 0 0 0 0,0 1 0 0 0,1-1 0 0 0,-1 0 0 0 0,0 0 0 0 0,0 0 0 0 0,1 0 0 0 0,-1 0 0 0 0,0 1 0 0 0,0-1 0 0 0,1 0 0 0 0,-1 0 0 0 0,0 1 0 0 0,0-1 0 0 0,0 0 0 0 0,0 0 0 0 0,1 1 0 0 0,-1-1 0 0 0,0 0 0 0 0,0 0 0 0 0,0 1 0 0 0,0-1 0 0 0,0 0 0 0 0,0 1 0 0 0,0-1 0 0 0,7 1-1679 0 0</inkml:trace>
</inkml:ink>
</file>

<file path=ppt/ink/ink2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17.35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0 57 8 0 0,'-1'-2'1232'0'0,"-7"-13"3533"0"0,4 0-1436 0 0,-2-10 2472 0 0,5 26-5793 0 0,0-1 0 0 0,0 0 0 0 0,0 1 0 0 0,1-1 0 0 0,-1 1 0 0 0,0-1 0 0 0,0 1 0 0 0,0-1 0 0 0,1 1 0 0 0,-1-1 0 0 0,0 1 0 0 0,0 1 0 0 0,0-1 7 0 0,-2 3 57 0 0,-7 31 638 0 0,-8 56 0 0 0,13-65-511 0 0,-44 308 1136 0 0,12 2-656 0 0,31-264-79 0 0,6-69-237 0 0,1-5-1173 0 0,1-2 447 0 0,-1 1 1 0 0,1-1-1 0 0,-1 1 1 0 0,1-6-1 0 0,3-30-8570 0 0,-1 4 915 0 0,-2 22 7678 0 0</inkml:trace>
</inkml:ink>
</file>

<file path=ppt/ink/ink2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17.6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7 130 8 0 0,'-45'-3'10054'0'0,"44"-7"-8632"0"0,1 8-857 0 0,0 2-531 0 0,0 0-1 0 0,1 0 1 0 0,-1-1 0 0 0,0 1-1 0 0,1 0 1 0 0,-1 0-1 0 0,0 0 1 0 0,1-1 0 0 0,-1 1-1 0 0,0 0 1 0 0,0 0-1 0 0,1-1 1 0 0,-1 1 0 0 0,0 0-1 0 0,0-1 1 0 0,0 1-1 0 0,1 0 1 0 0,-1 0 0 0 0,0-1-1 0 0,0 1 1 0 0,0-1-1 0 0,1 0 7 0 0,-1 1 0 0 0,0-1 0 0 0,0 0 0 0 0,1 1 0 0 0,-1-1 0 0 0,1 0 0 0 0,-1 1 0 0 0,1-1 0 0 0,-1 1-1 0 0,1-1 1 0 0,-1 1 0 0 0,1-1 0 0 0,-1 1 0 0 0,1-1 0 0 0,0 0 0 0 0,16-10 300 0 0,1 1-1 0 0,-1 1 1 0 0,2 0 0 0 0,-1 1-1 0 0,1 1 1 0 0,0 1 0 0 0,0 0 0 0 0,22-2-1 0 0,165-13-407 0 0,-186 19 32 0 0,-17 2-15 0 0,68-2-3000 0 0,-59 3-355 0 0,-1 0 1 0 0,13 2-1 0 0,-11 0 353 0 0</inkml:trace>
</inkml:ink>
</file>

<file path=ppt/ink/ink2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18.00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7 1 3097 0 0,'-12'4'8145'0'0,"14"-3"-7711"0"0,1 0-364 0 0,0 0 1 0 0,0 0-1 0 0,0-1 1 0 0,0 1-1 0 0,0-1 1 0 0,0 0-1 0 0,0 0 1 0 0,0 0-1 0 0,0 0 0 0 0,0 0 1 0 0,6-2-1 0 0,11 0-2 0 0,25-1-1 0 0,-18 2-32 0 0,-18 1-27 0 0,0 1 1 0 0,0-1-1 0 0,0 2 1 0 0,0-1-1 0 0,-1 1 1 0 0,1 0-1 0 0,9 4 1 0 0,-6 0 73 0 0,-9-4-64 0 0,-3-1-14 0 0,1-1 1 0 0,-1 0 0 0 0,1 1 0 0 0,-1-1-1 0 0,1 0 1 0 0,-1 1 0 0 0,0-1 0 0 0,1 1-1 0 0,-1-1 1 0 0,1 1 0 0 0,-1-1-1 0 0,0 1 1 0 0,1-1 0 0 0,-1 1 0 0 0,0-1-1 0 0,0 1 1 0 0,1-1 0 0 0,-1 1 0 0 0,0 1-1 0 0,1-1 11 0 0,0 4 29 0 0,-2 4-51 0 0,-1-1-1 0 0,0 0 1 0 0,0 0 0 0 0,0-1-1 0 0,-1 1 1 0 0,0 0 0 0 0,-4 7-1 0 0,-35 53-419 0 0,19-32 214 0 0,-148 225 2595 0 0,150-231-1644 0 0,-68 100 2798 0 0,86-126-3436 0 0,0 1 69 0 0,0-1-1 0 0,0 0 0 0 0,1 1 1 0 0,0-1-1 0 0,-1 1 1 0 0,2 0-1 0 0,-3 7 0 0 0,2-2 36 0 0,1-7-38 0 0,3 0-24 0 0,3 7-19 0 0,-4-10-115 0 0,-1 1-1 0 0,0-1 1 0 0,1 1 0 0 0,-1-1-1 0 0,0 1 1 0 0,1-1-1 0 0,-1 1 1 0 0,1-1 0 0 0,-1 1-1 0 0,1-1 1 0 0,-1 0 0 0 0,1 1-1 0 0,-1-1 1 0 0,1 0-1 0 0,0 1 1 0 0,-1-1 0 0 0,1 0-1 0 0,-1 0 1 0 0,1 0-1 0 0,0 1 1 0 0,0-1 0 0 0,0 0 14 0 0,4 2-12 0 0,0-1 0 0 0,1 1 0 0 0,-1-1 1 0 0,0 0-1 0 0,1 0 0 0 0,-1-1 0 0 0,0 0 1 0 0,1 0-1 0 0,6-1 0 0 0,3 1-7 0 0,99-4-461 0 0,-42 0-3081 0 0,0 4-8796 0 0,-51 1 7329 0 0</inkml:trace>
</inkml:ink>
</file>

<file path=ppt/ink/ink2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21.55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 111 8 0 0,'-1'0'0'0'0,"0"0"0"0"0,0 0 0 0 0,0 0 0 0 0,0 0 0 0 0,0-1 0 0 0,0 1 0 0 0,0 0 0 0 0,0-1 0 0 0,1 1 0 0 0,-3-1 0 0 0,2 0 14 0 0,0 0 1 0 0,0 0-1 0 0,0 0 1 0 0,1 0-1 0 0,-1 0 0 0 0,0 0 1 0 0,0-1-1 0 0,1 1 1 0 0,-2-2-1 0 0,2 1 347 0 0,-1-1 0 0 0,1 1 0 0 0,-1-1 0 0 0,1 0-1 0 0,0 1 1 0 0,0-1 0 0 0,0 0 0 0 0,1 1 0 0 0,-1-1 0 0 0,0 1 0 0 0,1-1-1 0 0,0 1 1 0 0,0-1 0 0 0,-1 1 0 0 0,3-4 0 0 0,-1 2-98 0 0,-2 2 331 0 0,1-1-61 0 0,10-24 1210 0 0,-10 25-860 0 0,-1 1-852 0 0,0 0-1 0 0,0 1 1 0 0,1-1-1 0 0,-1 0 1 0 0,0 1-1 0 0,0-1 1 0 0,1 0-1 0 0,-1 1 1 0 0,0-1-1 0 0,1 1 1 0 0,-1-1-1 0 0,4-4 1563 0 0,-4 8-1289 0 0,-4 13 927 0 0,-7 23 0 0 0,10-37-931 0 0,-6 25 948 0 0,6-25-990 0 0,1 1-17 0 0,-1 38 1296 0 0,1-39-1349 0 0,0 0-27 0 0,1 2-25 0 0,0 0 1 0 0,0 0-1 0 0,4 7 0 0 0,-4-8-72 0 0,1-1-14 0 0,13 29 84 0 0,-8-19-128 0 0,3 4 7 0 0,13 24 31 0 0,34 69 72 0 0,11 10-136 0 0,48 96-54 0 0,-110-198 35 0 0,0-1 1 0 0,-1 2 0 0 0,-1-1-1 0 0,-1 0 1 0 0,0 1 0 0 0,-2 0 0 0 0,1-1-1 0 0,-3 28 1 0 0,-5 13-489 0 0,-15 72 1 0 0,15-95 292 0 0,-13 67-158 0 0,-51 305-49 0 0,63-359 506 0 0,-20 74 1 0 0,21-108 50 0 0,4-10-92 0 0,1-1 426 0 0,-10-4-366 0 0,9 0-60 0 0,2-1-8 0 0,-1-25-124 0 0,1 28 108 0 0,0-1 0 0 0,0 0-1 0 0,0 0 1 0 0,0 1-1 0 0,0-1 1 0 0,0 0-1 0 0,0 1 1 0 0,0-1 0 0 0,-1 0-1 0 0,1 0 1 0 0,0 1-1 0 0,0-1 1 0 0,0 0-1 0 0,0 0 1 0 0,0 1-1 0 0,0-1 1 0 0,-1 0 0 0 0,1 0-1 0 0,0 1 1 0 0,0-1-1 0 0,-1 0 1 0 0,-4 10-24 0 0,-17 57-28 0 0,20-62 48 0 0,-1 6 20 0 0,-1-1 0 0 0,0 1-1 0 0,-11 19 1 0 0,8-18 9 0 0,-26 55 111 0 0,25-51-136 0 0,-1 0 5 0 0,1-5-5 0 0,4-7-5 0 0,-12 17-2 0 0,13-18 3 0 0,1-1-10 0 0,2 0-560 0 0,-2 7 564 0 0,2-6 0 0 0,0-1-62 0 0,2 7 59 0 0,-2-7 1 0 0,1 1-45 0 0,2 19-106 0 0,-2-20 136 0 0,-2 0-101 0 0,-11 20-1899 0 0,11-20 1247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6.02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1 96 8 0 0,'-23'4'31'0'0,"17"-1"97"0"0,1 0 64 0 0,1-2-18 0 0,1 1-1 0 0,0 0 1 0 0,0 0 0 0 0,0 0 0 0 0,0 0 0 0 0,0 0-1 0 0,0 0 1 0 0,-3 5 0 0 0,-3 2 326 0 0,0 2-1 0 0,0-1 1 0 0,1 1 0 0 0,0 0-1 0 0,1 1 1 0 0,1-1 0 0 0,0 1-1 0 0,-9 25 1 0 0,8-10 184 0 0,0-1-1 0 0,2 1 1 0 0,-3 34-1 0 0,7-43-248 0 0,1 0 1 0 0,0 1-1 0 0,1-1 0 0 0,1 0 0 0 0,8 32 0 0 0,3-17 373 0 0,-9-27-330 0 0,8 5 49 0 0,-12-11-501 0 0,0 0 1 0 0,1 1-1 0 0,-1-1 0 0 0,0 0 1 0 0,1 0-1 0 0,-1 1 1 0 0,0-1-1 0 0,0 0 1 0 0,1 0-1 0 0,-1 0 1 0 0,0 0-1 0 0,1 1 1 0 0,-1-1-1 0 0,0 0 1 0 0,1 0-1 0 0,-1 0 1 0 0,1 0-1 0 0,-1 0 1 0 0,0 0-1 0 0,1 0 1 0 0,4 0 95 0 0,-1 0 0 0 0,1 0 1 0 0,0 0-1 0 0,-1-1 0 0 0,1 0 1 0 0,-1 1-1 0 0,1-2 0 0 0,-1 1 0 0 0,0 0 1 0 0,1-1-1 0 0,-1 0 0 0 0,0 0 1 0 0,8-5-1 0 0,0-3-29 0 0,-1 0-1 0 0,0 0 1 0 0,0-1 0 0 0,-1-1-1 0 0,0 0 1 0 0,11-18 0 0 0,42-85-367 0 0,-51 92 92 0 0,22-48-1125 0 0,36-109 1 0 0,-66 166 1082 0 0,3-21 0 0 0,-6 31 174 0 0,-1 3 39 0 0,0 0 0 0 0,1 0 0 0 0,-1 0 0 0 0,0 0-1 0 0,0 0 1 0 0,0 0 0 0 0,0-1 0 0 0,0 1 0 0 0,0 0 0 0 0,-1 0 0 0 0,1 0 0 0 0,0 0-1 0 0,-1-1 1 0 0,0-1-12 0 0,1 0-38 0 0,-10-3-84 0 0,8 5 114 0 0,2 1 29 0 0,0 0 1 0 0,0 0-1 0 0,0-1 0 0 0,0 1 1 0 0,0 0-1 0 0,-1 0 0 0 0,1 0 1 0 0,0 0-1 0 0,0 0 0 0 0,0 0 1 0 0,0 0-1 0 0,0 0 0 0 0,0 0 1 0 0,0 0-1 0 0,-1 0 0 0 0,1 0 1 0 0,0 0-1 0 0,0 0 0 0 0,0 0 1 0 0,0 0-1 0 0,0 0 0 0 0,0 0 1 0 0,0 0-1 0 0,-1 0 1 0 0,1 0-1 0 0,0 0 0 0 0,0 0 1 0 0,0 0-1 0 0,0 0 0 0 0,0 0 1 0 0,0 0-1 0 0,0 0 0 0 0,0 0 1 0 0,-1 0-1 0 0,1 0 0 0 0,0 0 1 0 0,0 0-1 0 0,0 1 0 0 0,0-1 1 0 0,0 0-1 0 0,0 0 0 0 0,0 0 1 0 0,0 0-1 0 0,0 0 0 0 0,-8 8 125 0 0,2 0 0 0 0,-1 0 0 0 0,1 0 0 0 0,0 1 0 0 0,1 0 0 0 0,0 0 0 0 0,-6 14 0 0 0,-1 6 539 0 0,-9 41 1 0 0,13-41-344 0 0,2 2 0 0 0,1-1 0 0 0,1 1 0 0 0,2 0 0 0 0,0 0 1 0 0,6 44-1 0 0,15 47-13 0 0,-15-102-270 0 0,2 0 0 0 0,1-1-1 0 0,17 38 1 0 0,-22-54-120 0 0,0 0-1 0 0,0 1 1 0 0,0-1-1 0 0,0 0 1 0 0,1 0-1 0 0,-1 0 1 0 0,1-1-1 0 0,0 1 1 0 0,0-1-1 0 0,0 1 1 0 0,0-1-1 0 0,0 0 1 0 0,0 0-1 0 0,1 0 1 0 0,-1 0-1 0 0,5 1 1 0 0,-5-3-485 0 0,1 1-1 0 0,-1 0 1 0 0,1-1 0 0 0,-1 0 0 0 0,1 1-1 0 0,0-2 1 0 0,-1 1 0 0 0,1 0 0 0 0,-1-1-1 0 0,1 1 1 0 0,-1-1 0 0 0,1 0 0 0 0,-1 0 0 0 0,1-1-1 0 0,-1 1 1 0 0,0-1 0 0 0,4-1 0 0 0,11-9-5170 0 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3:00.89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6 0 11098 0 0,'0'0'1683'0'0,"-1"2"-733"0"0,-7 27 369 0 0,3-8-754 0 0,-1-1 0 0 0,-16 35 0 0 0,0 3-532 0 0,-14 45-90 0 0,-26 95 4 0 0,59-186 50 0 0,-4 21 131 0 0,-6 46 0 0 0,13-68 22 0 0,-1-1 0 0 0,1 1 0 0 0,1 0 0 0 0,0-1 0 0 0,0 1 1 0 0,1-1-1 0 0,1 0 0 0 0,6 19 0 0 0,-6-20-6 0 0,2 0 1 0 0,-1 0-1 0 0,1 0 1 0 0,1 0 0 0 0,-1 0-1 0 0,10 9 1 0 0,-12-15-107 0 0,1 0 0 0 0,-1 0 0 0 0,0 0 0 0 0,1 0 0 0 0,0-1 0 0 0,-1 1 0 0 0,1-1 0 0 0,0 0 1 0 0,0 0-1 0 0,0-1 0 0 0,1 1 0 0 0,-1-1 0 0 0,0 0 0 0 0,0 0 0 0 0,1 0 0 0 0,-1-1 0 0 0,6 1 1 0 0,-3-2-20 0 0,1 1 1 0 0,-1-1-1 0 0,0-1 1 0 0,0 1-1 0 0,0-1 1 0 0,0-1-1 0 0,0 1 1 0 0,0-1-1 0 0,12-7 1 0 0,2-4 0 0 0,30-24 1 0 0,-33 24-12 0 0,-5 3 15 0 0,0 1 1 0 0,-1-2-1 0 0,16-18 0 0 0,-22 22-5 0 0,0 1 0 0 0,-1-1 0 0 0,0 0 0 0 0,-1-1-1 0 0,0 1 1 0 0,0-1 0 0 0,3-14 0 0 0,-5 17 21 0 0,0 0 0 0 0,-1-1-1 0 0,0 1 1 0 0,0-1 0 0 0,0 1 0 0 0,-1 0 0 0 0,0-1-1 0 0,-1 1 1 0 0,1-1 0 0 0,-1 1 0 0 0,0-1 0 0 0,-4-10-1 0 0,5 15-23 0 0,-1 1 0 0 0,0 0 0 0 0,1-1 0 0 0,-1 1 0 0 0,0-1 0 0 0,0 1 0 0 0,0 0 0 0 0,0-1-1 0 0,0 1 1 0 0,-1-1 0 0 0,-2-2 14 0 0,-2-1 47 0 0,1 2-43 0 0,0 0 0 0 0,0 0-1 0 0,0 1 1 0 0,0 0 0 0 0,-1 0 0 0 0,1 1 0 0 0,-8-2 0 0 0,0 2 2 0 0,0 0 0 0 0,0 1 1 0 0,0 0-1 0 0,0 1 0 0 0,1 0 0 0 0,-18 5 1 0 0,22-4-48 0 0,0 1-1 0 0,0-1 1 0 0,0 2 0 0 0,0-1 0 0 0,1 1-1 0 0,0 0 1 0 0,0 1 0 0 0,0 0 0 0 0,0 0 0 0 0,-11 11-1 0 0,6-3 3 0 0,0 1 0 0 0,1 0 0 0 0,1 1-1 0 0,0 1 1 0 0,-10 19 0 0 0,16-27-47 0 0,1 0 1 0 0,-1 0 0 0 0,2 1-1 0 0,-1-1 1 0 0,1 1 0 0 0,0-1-1 0 0,1 1 1 0 0,0 0 0 0 0,0 0-1 0 0,1 0 1 0 0,0-1 0 0 0,3 17-1 0 0,-2-21-181 0 0,0-1-1 0 0,1 1 0 0 0,-1 0 0 0 0,1-1 1 0 0,0 1-1 0 0,0-1 0 0 0,0 1 0 0 0,1-1 0 0 0,3 4 1 0 0,-1-3-664 0 0,-1-2 592 0 0,-3-2 179 0 0,0 1 0 0 0,0-1 0 0 0,0 1 0 0 0,0-1 0 0 0,0 1 1 0 0,0-1-1 0 0,0 0 0 0 0,1 1 0 0 0,-1-1 0 0 0,0 0 0 0 0,0 0 1 0 0,3 0-1 0 0,4 0-855 0 0,0 0 0 0 0,0-1 0 0 0,0 0 0 0 0,14-4 0 0 0,-10 0-139 0 0,0-1 0 0 0,-1 0 0 0 0,1-1 0 0 0,-1 0 0 0 0,18-15 0 0 0,16-11 1220 0 0,-19 19 723 0 0,-18 11-157 0 0,-1-1 0 0 0,0 0 0 0 0,0-1-1 0 0,0 1 1 0 0,8-9 0 0 0,-11 10-349 0 0,12-13 1089 0 0,25-29 637 0 0,-39 43-1908 0 0,0-1-46 0 0,7-8-21 0 0,-7 8 119 0 0,-4 9 28 0 0,0 1 0 0 0,-2 10 0 0 0,1-8-93 0 0,-28 116 3041 0 0,27-106-2825 0 0,0 0 1 0 0,1 1-1 0 0,1-1 1 0 0,0 1-1 0 0,2 0 1 0 0,0-1-1 0 0,2 1 1 0 0,4 24-1 0 0,-6-43-322 0 0,0-1 0 0 0,0 1 0 0 0,0 0 0 0 0,1 0 0 0 0,-1 0 0 0 0,0 0 0 0 0,1 0 0 0 0,-1-1 0 0 0,1 1 0 0 0,-1 0 0 0 0,1 0 0 0 0,-1-1 0 0 0,1 1 0 0 0,0 0 0 0 0,1 1 25 0 0,2 1 97 0 0,-2-3-110 0 0,-1 1 0 0 0,1-1 0 0 0,0 0 0 0 0,-1 0 0 0 0,1-1 0 0 0,0 1 0 0 0,-1 0 0 0 0,1 0 0 0 0,0-1 0 0 0,-1 1 0 0 0,1-1 0 0 0,0 0 0 0 0,-1 1 0 0 0,1-1 0 0 0,-1 0 0 0 0,0 0 0 0 0,1 0 0 0 0,2-2 0 0 0,17-16 112 0 0,-1 0 1 0 0,27-35-1 0 0,-30 34-121 0 0,0 0 0 0 0,2 0-1 0 0,23-17 1 0 0,-33 30 11 0 0,1-1-1 0 0,0 2 0 0 0,0-1 1 0 0,1 2-1 0 0,-1-1 1 0 0,2 1-1 0 0,-1 1 1 0 0,0 0-1 0 0,15-3 1 0 0,-20 6-5 0 0,-5 0-16 0 0,1 1 0 0 0,0-1 0 0 0,-1 1 0 0 0,1 0 0 0 0,0 0 1 0 0,0 0-1 0 0,-1 0 0 0 0,1 0 0 0 0,0 0 0 0 0,0 0 0 0 0,-1 1 0 0 0,1-1 0 0 0,0 0 0 0 0,-1 1 1 0 0,1-1-1 0 0,-1 1 0 0 0,3 1 0 0 0,11 6-6 0 0,-15-8-1 0 0,1 1 1 0 0,-1-1 0 0 0,0 0-1 0 0,1 0 1 0 0,-1 1 0 0 0,1-1-1 0 0,-1 0 1 0 0,0 1 0 0 0,1-1-1 0 0,-1 0 1 0 0,0 1 0 0 0,1-1-1 0 0,-1 1 1 0 0,0-1 0 0 0,0 0-1 0 0,1 2 1 0 0,3 5-56 0 0,-1 1 0 0 0,0-1 1 0 0,0 1-1 0 0,0 0 0 0 0,-1 0 0 0 0,0 0 1 0 0,-1 0-1 0 0,1 16 0 0 0,-2-4-554 0 0,-2 1 0 0 0,-1-1 0 0 0,-6 28-1 0 0,-6 5-3185 0 0,-3-1-4329 0 0,10-29 1427 0 0</inkml:trace>
</inkml:ink>
</file>

<file path=ppt/ink/ink30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23.40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9 0 8 0 0,'-15'8'2126'0'0,"3"6"2189"0"0,2-5-2437 0 0,7-8-1007 0 0,-8 5-94 0 0,8-5-71 0 0,0 0-62 0 0,-8 3-70 0 0,9-3-58 0 0,1-1-499 0 0,1 0 0 0 0,0-1 0 0 0,0 1 0 0 0,-1 0 0 0 0,1 0 1 0 0,0 0-1 0 0,0 0 0 0 0,-1 0 0 0 0,1 0 0 0 0,0 0 0 0 0,0 0 0 0 0,-1 0 1 0 0,1 0-1 0 0,0 0 0 0 0,-8 2 3529 0 0,7-2-3406 0 0,0-1-98 0 0,1 1-1 0 0,-1-1 1 0 0,1 0-1 0 0,-1 0 0 0 0,1 0 1 0 0,0 0-1 0 0,-1 0 1 0 0,1 0-1 0 0,0 0 1 0 0,-2-4 1337 0 0,13 1-1287 0 0,-9 3 19 0 0,1 2-78 0 0,7 6-1 0 0,-8-6 1 0 0,1 1 6 0 0,0-1-33 0 0,5 3 70 0 0,0 0-1 0 0,1-1 1 0 0,-1 0-1 0 0,18 3 1 0 0,-5-6 15 0 0,-1 0-1 0 0,38-6 1 0 0,99-20 397 0 0,-96 18-383 0 0,-1 4-1 0 0,79 3 1 0 0,-79 6-97 0 0,-44-4-11 0 0,0 2-4 0 0,-5 0-1 0 0,-7-1 2 0 0,5 1 6 0 0,-7-2 44 0 0,1 10-95 0 0,-2-9-22 0 0,-6 0-2187 0 0,5-2 2232 0 0,-1 0 0 0 0,1 0 0 0 0,0 0 1 0 0,0 1-1 0 0,0-1 0 0 0,-1 0 0 0 0,1 1 0 0 0,-8 3-3315 0 0,8-4 3265 0 0,0 0-1 0 0,-1 0 1 0 0,1 0 0 0 0,-1 0 0 0 0,1 1-1 0 0,0-1 1 0 0,-1 0 0 0 0,1 0 0 0 0,0 0-1 0 0,-1 0 1 0 0,1 1 0 0 0,0-1 0 0 0,-1 0 0 0 0,1 0-1 0 0,0 1 1 0 0,-1-1 0 0 0,1 1 0 0 0</inkml:trace>
</inkml:ink>
</file>

<file path=ppt/ink/ink30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3:23.93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 1 8 0 0,'-27'4'5036'0'0,"24"-3"-4141"0"0,-7 3 1799 0 0,10-1-2458 0 0,0 6 6 0 0,0-7 240 0 0,1 1-241 0 0,4 7 0 0 0,-4-8 12 0 0,0 1 21 0 0,7 19 350 0 0,-1 1-1 0 0,0-1 0 0 0,3 33 0 0 0,4 75-26 0 0,-13-79-497 0 0,-2 0 1 0 0,-8 55-1 0 0,3-53-81 0 0,-7 66 120 0 0,-7 153 659 0 0,21-256-506 0 0,5 31 1 0 0,-5-44 223 0 0,1-2-333 0 0,6 5-14 0 0,-6-5 202 0 0,-1-1-365 0 0,0-1 1 0 0,0 1-1 0 0,0 0 0 0 0,0-1 1 0 0,0 1-1 0 0,-1-1 0 0 0,1 1 1 0 0,0-1-1 0 0,0 1 0 0 0,-1-1 0 0 0,1 0 1 0 0,0 0-1 0 0,0 0 3 0 0,1-1-7 0 0,-1 2-80 0 0,-1-1 53 0 0,0 0 0 0 0,0 0 0 0 0,1 0 0 0 0,-1 1 1 0 0,0-1-1 0 0,1 0 0 0 0,-1 0 0 0 0,1 1 0 0 0,-1-1 0 0 0,1 0 0 0 0,0 0 0 0 0,0 0-47 0 0,1-2-342 0 0</inkml:trace>
</inkml:ink>
</file>

<file path=ppt/ink/ink30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45.17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9 62 8 0 0,'-1'-14'0'0'0,"0"-5"0"0"0,0 4 0 0 0,0 2 5438 0 0,0 15-4649 0 0,-5 6-39 0 0,5-6-40 0 0,1 0-25 0 0,5 18 1333 0 0,2 10-634 0 0,-1 0 1 0 0,3 61-1 0 0,-13 28-1195 0 0,-5-1-1 0 0,-45 214 1 0 0,17-176-120 0 0,-21 110 483 0 0,37-49-229 0 0,20-182-241 0 0,2 0-1 0 0,2 0 0 0 0,0 0 0 0 0,11 39 1 0 0,-13-71-28 0 0,-1-3-51 0 0,0 1 0 0 0,0-1-1 0 0,0 1 1 0 0,0-1 0 0 0,1 1-1 0 0,-1-1 1 0 0,0 1 0 0 0,0-1-1 0 0,0 1 1 0 0,1-1 0 0 0,-1 1-1 0 0,0-1 1 0 0,1 1 0 0 0,-1-1-1 0 0,1 1 1 0 0,3-7-2303 0 0,-3 2 1599 0 0,0 0-1 0 0,-1-1 1 0 0,1-6 0 0 0,-3-25-8177 0 0,0 18 6720 0 0,-2-5 1742 0 0</inkml:trace>
</inkml:ink>
</file>

<file path=ppt/ink/ink30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45.5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1 307 8 0 0,'-22'-18'2938'0'0,"6"5"1120"0"0,5-1-810 0 0,10 12-2970 0 0,1 0 0 0 0,0 0 1 0 0,0 1-1 0 0,-1-1 0 0 0,1 0 1 0 0,0 0-1 0 0,1 0 0 0 0,-1 0 1 0 0,0 1-1 0 0,1-3 1 0 0,0 2 285 0 0,2-1-34 0 0,-1 0-361 0 0,-1 2-98 0 0,0 0 1 0 0,0 0 0 0 0,0 0-1 0 0,0 0 1 0 0,0 0 0 0 0,1 0-1 0 0,-1 0 1 0 0,0 0 0 0 0,0 1-1 0 0,1-1 1 0 0,2-1 0 0 0,83-34 1645 0 0,95-24 1 0 0,-133 44-1515 0 0,146-42 156 0 0,4 15-878 0 0,-176 40-381 0 0,0 1 1 0 0,29 0 0 0 0,-38 3-1315 0 0,21 3 0 0 0,-25-2-992 0 0,1 1 0 0 0,14 5 0 0 0,-12-4 1043 0 0</inkml:trace>
</inkml:ink>
</file>

<file path=ppt/ink/ink30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46.3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0 0 8 0 0,'-14'3'1456'0'0,"12"-2"-828"0"0,-8 3 1039 0 0,8-4-1639 0 0,0-1 169 0 0,1 1-1 0 0,-1 0 0 0 0,1 0 0 0 0,-1-1 0 0 0,1 1 0 0 0,-1 0 0 0 0,1 1 0 0 0,-1-1 0 0 0,1 0 0 0 0,-1 0 0 0 0,1 1 0 0 0,-6 1 1571 0 0,5 0-1283 0 0,-8 7 1163 0 0,8-7-1313 0 0,-6 6-41 0 0,7-6 155 0 0,0 1-293 0 0,-1 6-43 0 0,2-7 12 0 0,1 0-91 0 0,-1 0-123 0 0,1 0-1 0 0,-1 0 1 0 0,1-1-1 0 0,0 1 1 0 0,0 0-1 0 0,0-1 0 0 0,0 1 1 0 0,0-1-1 0 0,0 1 1 0 0,0-1-1 0 0,1 0 1 0 0,-1 1-1 0 0,0-1 1 0 0,1 0-1 0 0,2 2 1 0 0,21 12-6150 0 0,-15-1 2399 0 0</inkml:trace>
</inkml:ink>
</file>

<file path=ppt/ink/ink30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4.74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9 171 8 0 0,'-6'-13'0'0'0,"1"-4"0"0"0,-10-35 3810 0 0,14 50-3226 0 0,0-8 315 0 0,0 1 1 0 0,-1 0-1 0 0,-6-17 0 0 0,8 24-364 0 0,0 1-383 0 0,-1-1 0 0 0,1 1 0 0 0,0-1 0 0 0,-1 1 0 0 0,1-1 0 0 0,-1 1 1 0 0,1 0-1 0 0,-1-1 0 0 0,-1-1 0 0 0,-3-10 1438 0 0,3 13-1356 0 0,-7-1-25 0 0,7 0-18 0 0,0 3-26 0 0,-9 2-29 0 0,9-3-3 0 0,-1 3-3 0 0,-2 0-88 0 0,-9 13 173 0 0,-13 23 165 0 0,-41 79 1 0 0,-10 55 77 0 0,48-90-225 0 0,3 1 1 0 0,-28 158-1 0 0,45-174-116 0 0,2 2-1 0 0,4-1 0 0 0,3 1 0 0 0,12 111 1 0 0,-4-126-35 0 0,3 0 0 0 0,30 94 0 0 0,-27-112-70 0 0,2-1 1 0 0,2 0-1 0 0,1-1 0 0 0,38 56 1 0 0,-38-69-90 0 0,2 0 0 0 0,0-2 0 0 0,1 0 0 0 0,1-1 1 0 0,1-1-1 0 0,0-1 0 0 0,2-2 0 0 0,0 0 0 0 0,48 22 1 0 0,-46-27-124 0 0,-1-2 0 0 0,47 9 0 0 0,-43-11-736 0 0,44 16 0 0 0,-72-23 787 0 0,0 1 0 0 0,0 0 0 0 0,0 0 0 0 0,0 0 0 0 0,0 0 0 0 0,0 0 0 0 0,1 2 0 0 0,1 0-135 0 0,-3-2 141 0 0,1-1 1 0 0,-1 1-1 0 0,0 0 0 0 0,0 0 0 0 0,0-1 1 0 0,0 1-1 0 0,0 0 0 0 0,0 0 0 0 0,0 0 1 0 0,0 0-1 0 0,0 0 0 0 0,0 2 0 0 0,2 0-291 0 0,-1 0-122 0 0,-1 0 0 0 0,1 0 0 0 0,0 0 0 0 0,-1 0 0 0 0,1 0 1 0 0,-1 0-1 0 0,0 0 0 0 0,0 0 0 0 0,0 0 0 0 0,0 1 0 0 0,-1-1 0 0 0,1 0 0 0 0,-1 1 0 0 0,0-1 0 0 0,0 5 0 0 0,0 5 556 0 0</inkml:trace>
</inkml:ink>
</file>

<file path=ppt/ink/ink30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5.98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8 471 8 0 0,'-15'8'223'0'0,"10"-5"64"0"0,3-2-8 0 0,-1 1 0 0 0,1-1 0 0 0,0 1 0 0 0,0-1 0 0 0,0 1 0 0 0,1 0 0 0 0,-3 2 0 0 0,-20 22 4457 0 0,21-24-3792 0 0,-19 22 3922 0 0,22-24-4848 0 0,1 0-1 0 0,-1 0 1 0 0,0 0 0 0 0,1 0-1 0 0,-1 0 1 0 0,0 0-1 0 0,1 0 1 0 0,-1 0 0 0 0,0-1-1 0 0,1 1 1 0 0,-1 0-1 0 0,0 0 1 0 0,1 0 0 0 0,-1-1-1 0 0,0 1 1 0 0,1 0-1 0 0,-1 0 1 0 0,0 0 0 0 0,0-1-1 0 0,1 1 1 0 0,-1 0-1 0 0,0-1 1 0 0,1 1-2 0 0,-1-1 0 0 0,0 1 0 0 0,0 0-1 0 0,1-1 1 0 0,-1 1 0 0 0,0 0 0 0 0,0 0 0 0 0,1-1 0 0 0,-1 1 0 0 0,0 0-1 0 0,1 0 1 0 0,-1 0 0 0 0,0-1 0 0 0,1 1 0 0 0,-1 0 0 0 0,0 0 0 0 0,1 0-1 0 0,-1 0 1 0 0,0 0 0 0 0,1 0 0 0 0,-1 0 0 0 0,1 0 0 0 0,2-2 216 0 0,8-8 3 0 0,-1 0 0 0 0,0-1 0 0 0,-1 0-1 0 0,0 0 1 0 0,13-22 0 0 0,35-62 600 0 0,13-20-224 0 0,81-109-242 0 0,-149 221-358 0 0,1 0 1 0 0,-1 1-9 0 0,-1 1-1 0 0,0 0 1 0 0,0 1-1 0 0,0-1 1 0 0,0 0-1 0 0,0 0 1 0 0,-1 0-1 0 0,1 0 1 0 0,0 0 0 0 0,0-2-1 0 0,-1 4-1 0 0,0-1 0 0 0,0 0 0 0 0,0 0 0 0 0,-1 1 0 0 0,1-1 0 0 0,0 0 0 0 0,0 0 1 0 0,0 1-1 0 0,0-1 0 0 0,0 0 0 0 0,0 1 0 0 0,0-1 0 0 0,0 0 0 0 0,0 1 0 0 0,0-1 0 0 0,0 0 0 0 0,0 0 0 0 0,0 1 0 0 0,0-1 0 0 0,0 0 0 0 0,0 1 0 0 0,0-1 0 0 0,0 0 0 0 0,1 1 0 0 0,-1-1 1 0 0,0 1 0 0 0,1 0 0 0 0,-1 0-1 0 0,0-1 1 0 0,0 1 0 0 0,0 0-1 0 0,1 0 1 0 0,-1-1 0 0 0,0 1-1 0 0,0 0 1 0 0,0 0 0 0 0,-1-1-1 0 0,1 1 1 0 0,0 0 0 0 0,0 1-1 0 0,-23 92 30 0 0,-5 29 29 0 0,20-79-14 0 0,-28 185 186 0 0,35-223-231 0 0,-5 38 4 0 0,2-1-1 0 0,2 70 0 0 0,2-110-58 0 0,2-2-253 0 0,0 0 161 0 0,-2-1 42 0 0,1 0 1 0 0,0 1-1 0 0,-1-1 0 0 0,1 0 0 0 0,0 1 0 0 0,-1-1 1 0 0,1 1-1 0 0,0-1 0 0 0,-1 0 0 0 0,1 1 0 0 0,-1 0 1 0 0,2 0-1 0 0,0-1-844 0 0,0 0 916 0 0,0-1-434 0 0,0 1 0 0 0,-1 0 0 0 0,1 0 0 0 0,-1-1 0 0 0,1 1 0 0 0,-1-1 0 0 0,3-1 0 0 0</inkml:trace>
</inkml:ink>
</file>

<file path=ppt/ink/ink30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6.63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6 82 8 0 0,'-15'-1'51'0'0,"0"0"725"0"0,6 3 68 0 0,-27-2 4309 0 0,34 0-4335 0 0,-1-1-92 0 0,-22-5 4860 0 0,25 4-5278 0 0,3-8 8 0 0,-2 8 296 0 0,2 0-340 0 0,2-2-109 0 0,0 1 1 0 0,1 0-1 0 0,-1 0 1 0 0,1 0-1 0 0,0 1 1 0 0,7-2-1 0 0,20-3 224 0 0,122-13 117 0 0,-147 19-502 0 0,-1 1 20 0 0,1-1 0 0 0,-1 0-1 0 0,0 0 1 0 0,0 0-1 0 0,7-3 1 0 0,-12 3 69 0 0,-5 3-105 0 0,-8 4 0 0 0,0-1-1 0 0,0 0 1 0 0,-1-1 0 0 0,1 0-1 0 0,-1-1 1 0 0,-22 3-1 0 0,-6-1 310 0 0,-44-1 0 0 0,69-1-30 0 0,13-1-276 0 0,-4 7-9 0 0,4-7 2 0 0,5-1-20 0 0,3 3-81 0 0,0-1-1 0 0,0-1 1 0 0,1 1 0 0 0,-1-1-1 0 0,1-1 1 0 0,0 1-1 0 0,-1-1 1 0 0,1 0 0 0 0,0 0-1 0 0,0-1 1 0 0,0 0-1 0 0,10-1 1 0 0,6-2-2763 0 0,1-1 0 0 0,33-9 0 0 0,-18 0-4193 0 0,-18 5 5975 0 0</inkml:trace>
</inkml:ink>
</file>

<file path=ppt/ink/ink30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7.15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2 2 8 0 0,'-11'-1'87'0'0,"9"1"466"0"0,-1 2 539 0 0,-1 0-563 0 0,0 1-1 0 0,0 0 1 0 0,0 1 0 0 0,0-1-1 0 0,1 1 1 0 0,0 0-1 0 0,-1 0 1 0 0,-2 4-1 0 0,-1 6-297 0 0,0 0-1 0 0,2 1 1 0 0,-1-1-1 0 0,2 1 1 0 0,-4 19-1 0 0,-9 81 655 0 0,16-105-687 0 0,-13 192 2814 0 0,13 0-1296 0 0,2-115-1511 0 0,1-40 341 0 0,0-19-1981 0 0,-2-9-3225 0 0,4-29 1030 0 0,-2 7 3018 0 0,-1 0 0 0 0,0 0 1 0 0,0-1-1 0 0,0 1 0 0 0,0 0 0 0 0,0-6 1 0 0,-1-6 184 0 0</inkml:trace>
</inkml:ink>
</file>

<file path=ppt/ink/ink30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7.4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 166 1208 0 0,'-3'1'4052'0'0,"-9"5"250"0"0,15-5-3534 0 0,9 3-38 0 0,-12-4-703 0 0,0 0 0 0 0,0 0 0 0 0,1 0 1 0 0,-1 0-1 0 0,0 0 0 0 0,0 0 0 0 0,0 0 0 0 0,1 0 1 0 0,-1 0-1 0 0,0 0 0 0 0,0 0 0 0 0,1 0 0 0 0,-1 0 1 0 0,0 0-1 0 0,0 0 0 0 0,1 0 0 0 0,-1 0 0 0 0,0 0 1 0 0,0 0-1 0 0,0 0 0 0 0,1 0 0 0 0,-1 0 0 0 0,0-1 1 0 0,1 1-1 0 0,107-63 2277 0 0,-65 37-1983 0 0,55-26-1 0 0,-83 46-801 0 0,1 0 1 0 0,0 0-1 0 0,0 2 0 0 0,0 0 1 0 0,1 0-1 0 0,-1 2 0 0 0,28-1 1 0 0,-31 3-2224 0 0,-1 0 1 0 0,21 4 0 0 0,-17 0-19 0 0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6.5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2 1324 8 0 0,'-21'26'0'0'0,"18"-20"0"0"0,-1 0 0 0 0,-4 12 0 0 0,0 9 0 0 0,2-8 7 0 0,4-15 101 0 0,1 0 310 0 0,-7 19 3151 0 0,11-28-3261 0 0,1 1-204 0 0,-2 2-48 0 0,0 0 1 0 0,-1 0-1 0 0,1 0 0 0 0,0-1 1 0 0,-1 1-1 0 0,0 0 0 0 0,0-1 1 0 0,2-3-1 0 0,44-79 734 0 0,4-7-125 0 0,-26 40-327 0 0,115-225 1208 0 0,-31 90-1117 0 0,-97 166-404 0 0,125-193 126 0 0,2-4-57 0 0,-28 20-7 0 0,-98 174-80 0 0,3-1-7 0 0,2-5-142 0 0,-19 30 141 0 0,1 1-1 0 0,0-1 1 0 0,-1 1-1 0 0,1-1 1 0 0,0 1-1 0 0,0 0 1 0 0,0-1-1 0 0,-1 1 1 0 0,1-1-1 0 0,0 1 1 0 0,0 0-1 0 0,0-1 1 0 0,0 1-1 0 0,0-1 1 0 0,0 1-1 0 0,0 0 1 0 0,1 0-1 0 0,-1 0 3 0 0,0 1 0 0 0,0-1 0 0 0,0 1 0 0 0,0-1 0 0 0,0 1-1 0 0,0-1 1 0 0,0 0 0 0 0,-1 1 0 0 0,1-1 0 0 0,-1 3 0 0 0,-6 20 6 0 0,-47 202-19 0 0,48-195 24 0 0,-37 211-44 0 0,11-30-72 0 0,22-133 87 0 0,-25 195-124 0 0,-13-3 44 0 0,37-224 232 0 0,-28 74-1 0 0,37-115 156 0 0,0-2-97 0 0,-6 10 2 0 0,6-10 82 0 0,0-15-210 0 0,2 10-62 0 0,-1-1-1 0 0,1 1 0 0 0,0-1 0 0 0,0 0 0 0 0,0 1 1 0 0,0-1-1 0 0,0 1 0 0 0,0-1 0 0 0,1-2 0 0 0,-1-1-8 0 0,3-16-65 0 0,4-14-319 0 0,-6 27 268 0 0,6-23-722 0 0,-5 23 604 0 0,6-21-1295 0 0,-6 22 1132 0 0,-1 3-98 0 0,1 0 1 0 0,-1 0-1 0 0,1 0 1 0 0,3-7-1 0 0,9-17-3041 0 0,-3 7 3225 0 0</inkml:trace>
</inkml:ink>
</file>

<file path=ppt/ink/ink3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7.80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1 0 5033 0 0,'-31'14'7730'0'0,"34"-12"-7229"0"0,10 3-150 0 0,-6-4-122 0 0,80 1 317 0 0,-77-2-484 0 0,-9 0-57 0 0,0 0 0 0 0,0 0 1 0 0,0 0-1 0 0,0 1 0 0 0,0-1 0 0 0,0 0 0 0 0,0 0 1 0 0,0 1-1 0 0,0-1 0 0 0,0 1 0 0 0,0-1 1 0 0,2 2-1 0 0,-2-1 6 0 0,1-1-10 0 0,0 1 17 0 0,0 0 0 0 0,0 0 1 0 0,0 0-1 0 0,0 0 0 0 0,0 0 0 0 0,-1 1 1 0 0,1-1-1 0 0,0 0 0 0 0,-1 1 0 0 0,1 0 1 0 0,0-1-1 0 0,-1 1 0 0 0,0 0 0 0 0,1-1 1 0 0,-1 1-1 0 0,0 0 0 0 0,0 0 0 0 0,0 0 1 0 0,0 0-1 0 0,0 3 0 0 0,0 5 46 0 0,-1 0 0 0 0,0 0 0 0 0,-1 0 0 0 0,0 0 0 0 0,-1 0 0 0 0,0 0 0 0 0,0 0 0 0 0,-7 15 0 0 0,-37 77 1053 0 0,43-96-997 0 0,-21 40 744 0 0,-10 21 391 0 0,33-65-1232 0 0,1-1 0 0 0,-1 0 0 0 0,1 1 0 0 0,-1-1 0 0 0,1 0 0 0 0,-1 1 0 0 0,1-1 0 0 0,0 1 0 0 0,0 1-1 0 0,-1 1 14 0 0,1-3-29 0 0,0-1-1 0 0,0 1 0 0 0,0 0 1 0 0,0-1-1 0 0,0 1 1 0 0,0 0-1 0 0,0-1 1 0 0,0 1-1 0 0,0 0 1 0 0,0-1-1 0 0,0 1 1 0 0,0 0-1 0 0,0 0 0 0 0,0-1 1 0 0,1 1-1 0 0,-1 0 1 0 0,0-1-1 0 0,0 1 1 0 0,1 0-1 0 0,0 1 13 0 0,0 1 34 0 0,2-1-10 0 0,-1 0-31 0 0,-1-1-8 0 0,0 0 0 0 0,-1-1-1 0 0,1 1 1 0 0,0 0 0 0 0,0-1-1 0 0,0 1 1 0 0,0 0 0 0 0,0-1-1 0 0,0 1 1 0 0,-1-1-1 0 0,1 0 1 0 0,0 1 0 0 0,0-1-1 0 0,1 0 1 0 0,0 1 0 0 0,4 0 9 0 0,0 0 0 0 0,0-1 1 0 0,0 0-1 0 0,1 0 0 0 0,-1 0 0 0 0,0-1 1 0 0,8-1-1 0 0,47-14-211 0 0,-7 1-2337 0 0,-4 4-7824 0 0,-35 9 3926 0 0</inkml:trace>
</inkml:ink>
</file>

<file path=ppt/ink/ink3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8.49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51 14 8 0 0,'-19'-9'0'0'0,"17"8"187"0"0,-1 0-1 0 0,1 1 1 0 0,-1-1-1 0 0,1 0 1 0 0,-1 1 0 0 0,1 0-1 0 0,-1 0 1 0 0,1 0-1 0 0,-1 0 1 0 0,0 0 0 0 0,1 0-1 0 0,-1 1 1 0 0,1-1-1 0 0,-5 2 1 0 0,2 0 238 0 0,1 0 0 0 0,0 1 1 0 0,0-1-1 0 0,0 1 0 0 0,0 0 1 0 0,-4 5-1 0 0,6-7-376 0 0,1 0 0 0 0,0 0 0 0 0,0 0 0 0 0,0 0 0 0 0,0 1 0 0 0,0-1 0 0 0,0 0 1 0 0,0 1-1 0 0,0-1 0 0 0,-1 4 0 0 0,-1 1 51 0 0,-18 30 1337 0 0,1 0 0 0 0,-28 77 1 0 0,17-17 885 0 0,-18 103 0 0 0,-1 103-539 0 0,32-140-1296 0 0,14-110-398 0 0,5 64 0 0 0,1-87-90 0 0,1 0-1 0 0,2-1 1 0 0,14 48-1 0 0,-13-57-8 0 0,1-1 1 0 0,1 0-1 0 0,0-1 1 0 0,2 0-1 0 0,0 0 0 0 0,17 21 1 0 0,-20-30-82 0 0,-1 0 1 0 0,2-1-1 0 0,-1 0 1 0 0,1 0 0 0 0,0-1-1 0 0,1 0 1 0 0,-1 0-1 0 0,1-1 1 0 0,0 0-1 0 0,0 0 1 0 0,15 4-1 0 0,-10-5-271 0 0,0-1-1 0 0,0 0 1 0 0,1-1-1 0 0,-1-1 0 0 0,0 0 1 0 0,1 0-1 0 0,21-4 1 0 0,121-19-9185 0 0,-117 15 5294 0 0</inkml:trace>
</inkml:ink>
</file>

<file path=ppt/ink/ink3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8:59.20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4 8 8 0 0,'-13'-8'1359'0'0,"7"11"-227"0"0,6-3-986 0 0,0 0 0 0 0,-1 0 0 0 0,1 0 0 0 0,-1 0 0 0 0,1 1 0 0 0,0-1 0 0 0,-4 3 1461 0 0,4-3-1461 0 0,-1 0 0 0 0,1 1 0 0 0,0-1 1 0 0,-1 1-1 0 0,1 0-87 0 0,0 0 0 0 0,-1 0 0 0 0,1 0 1 0 0,-1 0-1 0 0,1 0 0 0 0,-1-1 1 0 0,1 1-1 0 0,-1 0 0 0 0,0 0 0 0 0,-1 1 293 0 0,2 0-59 0 0,0 6-1 0 0,0-6 355 0 0,1 0-255 0 0,3 8 47 0 0,-3-8 9 0 0,0 0-3 0 0,10 20 1201 0 0,-9-20-1223 0 0,-2-1-367 0 0,1 0 0 0 0,-1 0 1 0 0,1 0-1 0 0,-1 0 0 0 0,1 0 1 0 0,-1 0-1 0 0,1 0 0 0 0,-1 0 1 0 0,1-1-1 0 0,0 1 0 0 0,0 0 0 0 0,0 0 1 0 0,1 1 75 0 0,33 42 1584 0 0,8 10-1046 0 0,-40-50-633 0 0,135 209 1221 0 0,-111-166-1123 0 0,-2 2 0 0 0,31 83 0 0 0,-46-97-104 0 0,-1 0-1 0 0,-1 0 1 0 0,-2 0-1 0 0,-2 1 1 0 0,-1 0 0 0 0,-2 43-1 0 0,-4-25 51 0 0,-3-1 1 0 0,-1 0-1 0 0,-23 78 0 0 0,21-101 113 0 0,-1 1 0 0 0,-2-2 1 0 0,-1 1-1 0 0,-27 44 0 0 0,38-71-175 0 0,0 0-11 0 0,-6 5-14 0 0,7-6-40 0 0,-7-15-4065 0 0</inkml:trace>
</inkml:ink>
</file>

<file path=ppt/ink/ink3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1.26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2 61 8 0 0,'-13'4'2625'0'0,"13"-6"-2181"0"0,0-1-170 0 0,0 0 1 0 0,0 1-1 0 0,0-1 1 0 0,1 0-1 0 0,-1 1 1 0 0,2-4-1 0 0,-1 3 86 0 0,-1 2-262 0 0,1 0-1 0 0,-1 0 0 0 0,0 0 0 0 0,0 0 0 0 0,1 0 0 0 0,-1 0 0 0 0,0 0 0 0 0,1 0 0 0 0,-1 0 0 0 0,2-2 0 0 0,-1 3-24 0 0,-1-1 0 0 0,1 0-1 0 0,-1 0 1 0 0,1 0-1 0 0,-1 0 1 0 0,0 1 0 0 0,1-1-1 0 0,-1 0 1 0 0,0 0-1 0 0,0 0 1 0 0,1 0 0 0 0,-1 0-1 0 0,0-2 1 0 0,-1-7 446 0 0,-2 10-411 0 0,-21 10 744 0 0,21-9-423 0 0,1 1-170 0 0,-8 7 1304 0 0,8-7-1302 0 0,-4 6-46 0 0,4-5 188 0 0,2-1-322 0 0,1 6-1 0 0,0-6 14 0 0,0 0-66 0 0,9 23 13 0 0,-9-23-48 0 0,0-1-31 0 0,0-1 23 0 0,-1 1 1 0 0,1 0-1 0 0,-1-1 1 0 0,1 1-1 0 0,0 0 1 0 0,-1 0-1 0 0,1-1 1 0 0,-1 1-1 0 0,0 0 1 0 0,1 0-1 0 0,0 2 1 0 0,-1-2-31 0 0,2 1-226 0 0,-1 1-150 0 0,7 19-4240 0 0,-2-3-2090 0 0</inkml:trace>
</inkml:ink>
</file>

<file path=ppt/ink/ink3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1.65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42 2 8 0 0,'-2'-1'954'0'0,"-6"1"2005"0"0,0 0-1 0 0,-13 1 1 0 0,6 1-332 0 0,13-1-2045 0 0,-19 5 1466 0 0,19-6-1717 0 0,0 1-12 0 0,-5 3-133 0 0,0 0 1 0 0,0 0 0 0 0,1 1 0 0 0,0-1-1 0 0,0 1 1 0 0,0 1 0 0 0,0-1-1 0 0,-5 8 1 0 0,-25 32 137 0 0,1 1 0 0 0,-40 73 0 0 0,66-100-208 0 0,0-1-1 0 0,1 1 0 0 0,-9 32 1 0 0,14-40-103 0 0,1 1 0 0 0,0-1 1 0 0,1 1-1 0 0,0-1 0 0 0,1 1 1 0 0,0 0-1 0 0,4 21 0 0 0,-3-27-8 0 0,1 0 0 0 0,0 0-1 0 0,0 0 1 0 0,1 0 0 0 0,-1 0-1 0 0,1-1 1 0 0,0 0 0 0 0,1 1-1 0 0,5 5 1 0 0,2 1 2 0 0,1 0-1 0 0,1-1 0 0 0,0 0 1 0 0,24 14-1 0 0,60 27-492 0 0,-86-46 312 0 0,56 24-4015 0 0,-58-27 1401 0 0,-1 0 0 0 0,1-1 0 0 0,11 1 0 0 0</inkml:trace>
</inkml:ink>
</file>

<file path=ppt/ink/ink3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2.92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1 212 8 0 0,'-25'14'-8'0'0,"23"-11"92"0"0,-3 1 1731 0 0,-11 8 2411 0 0,-6 3 4796 0 0,46-36-8108 0 0,13-14-101 0 0,31-33-70 0 0,1 0-207 0 0,-41 42-381 0 0,-24 22-142 0 0,12-11 53 0 0,11-2 36 0 0,-25 16-74 0 0,1 0 4 0 0,6-2 7 0 0,-7 3 58 0 0,0 2-34 0 0,3 6-2 0 0,-4-3-11 0 0,-5 27 35 0 0,-3 0-1 0 0,-14 47 1 0 0,-1-1-29 0 0,7-14-38 0 0,-16 72 28 0 0,30-130-51 0 0,2 27-11 0 0,3-24 3 0 0,-4-8 9 0 0,0-1-1 0 0,0 0 1 0 0,0 0 0 0 0,0 0 0 0 0,0 0-1 0 0,1 1 1 0 0,-1-1 0 0 0,0 0 0 0 0,0 0-1 0 0,0 0 1 0 0,0 1 0 0 0,0-1 0 0 0,0 0-1 0 0,0 0 1 0 0,0 1 0 0 0,0-1-1 0 0,0 0 1 0 0,0 0 0 0 0,0 0 0 0 0,0 1-1 0 0,0-1 1 0 0,0 0 0 0 0,0 0 0 0 0,0 1-1 0 0,0-1 1 0 0,2 1-63 0 0,-2 0-22 0 0,1 0 21 0 0,-1-1 0 0 0,1 1 0 0 0,0-1 0 0 0,-1 1 0 0 0,1-1 0 0 0,0 1 0 0 0,-1-1 0 0 0,1 1 0 0 0,0-1 0 0 0,-1 0 0 0 0,1 1 0 0 0,1-1 0 0 0,4-2-1897 0 0</inkml:trace>
</inkml:ink>
</file>

<file path=ppt/ink/ink3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4.74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4 117 8 0 0,'-13'-2'0'0'0,"0"-5"0"0"0,-25 8 14973 0 0,40-2-14716 0 0,74-24 1661 0 0,-48 16-1604 0 0,1 2 0 0 0,0 1 1 0 0,37-2-1 0 0,90 1 8 0 0,-111 6-292 0 0,16 1 8 0 0,-22 0 31 0 0,0-1 1 0 0,77-13-1 0 0,-80 5-4 0 0,1 2 54 0 0,-35 6-2 0 0,-12-9-3191 0 0,8 8 2251 0 0</inkml:trace>
</inkml:ink>
</file>

<file path=ppt/ink/ink3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5.1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0 30 8 0 0,'-40'-29'12409'0'0,"38"31"-11983"0"0,-3 9-48 0 0,3-9-33 0 0,2 1-28 0 0,1 57 1495 0 0,1-2-818 0 0,-24 439 1264 0 0,20-450-2225 0 0,7 76 0 0 0,-4-116-20 0 0,1 1 0 0 0,-1-1-1 0 0,1 0 1 0 0,1 0-1 0 0,-1-1 1 0 0,6 10-1 0 0,-6-13-9 0 0,8 0-20 0 0,-8-2-14 0 0,0-1-30 0 0,6-1-59 0 0,-5 0-98 0 0,-1 1-116 0 0,20-11-8299 0 0</inkml:trace>
</inkml:ink>
</file>

<file path=ppt/ink/ink3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7.07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6 43 8 0 0,'-18'-27'2814'0'0,"18"27"-2780"0"0,0 0 1 0 0,0-1-1 0 0,0 1 1 0 0,0 0-1 0 0,0-1 1 0 0,0 1-1 0 0,0 0 1 0 0,-1-1-1 0 0,1 1 1 0 0,0 0-1 0 0,0-1 0 0 0,0 1 1 0 0,0 0-1 0 0,0 0 1 0 0,-1-1-1 0 0,1 1 1 0 0,0 0-1 0 0,0 0 1 0 0,-1-1-1 0 0,1 1 1 0 0,0 0-1 0 0,0 0 1 0 0,-1-1-1 0 0,1 1 77 0 0,-3-2 775 0 0,3 2-776 0 0,0 0 1 0 0,0 0 0 0 0,0-1 0 0 0,0 1-1 0 0,-1 0 1 0 0,1-1 0 0 0,0 1 0 0 0,0 0-1 0 0,0 0 1 0 0,0-1 0 0 0,0 1-1 0 0,0 0 1 0 0,0-1 0 0 0,0 0 0 0 0,-3 1 317 0 0,3 0-326 0 0,-1 0 1 0 0,0 0-1 0 0,0 0 0 0 0,1 0 0 0 0,-1 0 0 0 0,0 0 1 0 0,0 0-1 0 0,1 0 0 0 0,-1 0 0 0 0,0 0 0 0 0,-1-1 1 0 0,-8 11 609 0 0,8-8-353 0 0,0 1-7 0 0,-7 5-8 0 0,7-6-6 0 0,0 1 7 0 0,-13 15 357 0 0,0 1-7 0 0,0 3-21 0 0,-4 6-55 0 0,-63 103 1229 0 0,69-107-1704 0 0,0 0 0 0 0,2 1 0 0 0,-14 47 0 0 0,18-43-129 0 0,2 1 0 0 0,0 1-1 0 0,2-1 1 0 0,1 0 0 0 0,3 35 0 0 0,0-40-25 0 0,2 1 1 0 0,1-1-1 0 0,1 1 1 0 0,2-1 0 0 0,0-1-1 0 0,15 35 1 0 0,-17-49-1 0 0,-1-1 0 0 0,1 0 0 0 0,0-1 0 0 0,1 1 0 0 0,0-1 0 0 0,0 0 0 0 0,1-1 0 0 0,8 8 0 0 0,-10-11-9 0 0,0 0-1 0 0,1-1 0 0 0,-1 1 0 0 0,1-1 0 0 0,0 0 1 0 0,0 0-1 0 0,0-1 0 0 0,0 0 0 0 0,0 0 0 0 0,0 0 0 0 0,1-1 1 0 0,-1 0-1 0 0,11 1 0 0 0,-5-2-496 0 0,1-1-1 0 0,0 0 1 0 0,-1 0-1 0 0,1-2 1 0 0,19-5-1 0 0,-11 2-3348 0 0,-1-2 0 0 0,28-14 0 0 0,-34 13 3385 0 0</inkml:trace>
</inkml:ink>
</file>

<file path=ppt/ink/ink3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7.53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 106 2345 0 0,'-2'-2'3158'0'0,"-11"-10"-150"0"0,15 1-1740 0 0,-1 8-1026 0 0,2-2 491 0 0,7-3-486 0 0,0 0 0 0 0,0 1 0 0 0,0 0 0 0 0,1 1 0 0 0,0 0 0 0 0,0 1 0 0 0,1 0 0 0 0,0 0-1 0 0,0 1 1 0 0,0 1 0 0 0,0 0 0 0 0,0 1 0 0 0,21-2 0 0 0,-29 5-238 0 0,1-1-1 0 0,-1 1 1 0 0,0 0 0 0 0,1 0-1 0 0,7 3 1 0 0,-9-3 26 0 0,-1 1-2 0 0,7 10 3 0 0,-6-6 12 0 0,-2-4-35 0 0,-1-1-10 0 0,1 0 0 0 0,-1 0 1 0 0,0 0-1 0 0,1 0 0 0 0,-1 0 1 0 0,0 0-1 0 0,0 0 0 0 0,0 0 1 0 0,0 0-1 0 0,0 0 0 0 0,0 0 1 0 0,0 0-1 0 0,0 0 0 0 0,-1 0 1 0 0,1 0-1 0 0,-1 1 0 0 0,-3 14 24 0 0,-2 0-1 0 0,0 0 1 0 0,-1 0-1 0 0,0-1 1 0 0,-11 16-1 0 0,-54 73 237 0 0,57-83-167 0 0,-24 28 1280 0 0,32-39-1145 0 0,5-8 161 0 0,1 0-224 0 0,1 6 133 0 0,8-10-30 0 0,-2 0-302 0 0,21-7 54 0 0,-19 6-6 0 0,1 0 0 0 0,-1 1 1 0 0,1 0-1 0 0,0 0 0 0 0,-1 1 0 0 0,1 0 0 0 0,0 0 0 0 0,0 1 0 0 0,0 1 0 0 0,0-1 1 0 0,0 1-1 0 0,12 4 0 0 0,-16-4-9 0 0,0 1-1 0 0,0 0 1 0 0,0 1 0 0 0,-1-1-1 0 0,1 1 1 0 0,-1 0 0 0 0,1 0-1 0 0,-1 0 1 0 0,0 0 0 0 0,0 1-1 0 0,0 0 1 0 0,3 4 0 0 0,-4-3-2 0 0,0-1 1 0 0,-1 1-1 0 0,1 0 1 0 0,-1 0-1 0 0,0 0 1 0 0,0 0-1 0 0,-1 0 1 0 0,1 0-1 0 0,-1 0 0 0 0,0 1 1 0 0,-1-1-1 0 0,1 0 1 0 0,-1 1-1 0 0,-1 9 1 0 0,-1 0 5 0 0,0 1 1 0 0,-1-1-1 0 0,-9 26 1 0 0,5-24 17 0 0,-1 0 0 0 0,0 0 0 0 0,-1-1 0 0 0,0 0 1 0 0,-2 0-1 0 0,0-1 0 0 0,-1-1 0 0 0,0 0 0 0 0,-1 0 0 0 0,-23 18 1 0 0,35-31-25 0 0,0 0 0 0 0,-1 0 0 0 0,1 0 0 0 0,0 0 0 0 0,0 0 1 0 0,0 0-1 0 0,-1-1 0 0 0,1 1 0 0 0,0 0 0 0 0,-1-1 0 0 0,1 1 0 0 0,-2-1 1 0 0,-2 1 6 0 0,-10 4 48 0 0,12-4-50 0 0,2-1-9 0 0,1 0 0 0 0,-1 0 0 0 0,0 0 0 0 0,1 0 0 0 0,-1 0 1 0 0,1 0-1 0 0,-1 0 0 0 0,1 1 0 0 0,-1-2 0 0 0,0 1 0 0 0,1 0 0 0 0,-1 0 0 0 0,1 0 0 0 0,-1 0 0 0 0,1 0 0 0 0,-1 0 0 0 0,0-1 1 0 0,1 1-1 0 0,-1 0 0 0 0,-1-1 3 0 0,0 0 0 0 0,0-1-24 0 0,0 1-5 0 0,1 0-41 0 0,0 0-1 0 0,-1-1 1 0 0,1 1 0 0 0,0 0 0 0 0,0-1 0 0 0,0 1 0 0 0,0-1 0 0 0,0 1-1 0 0,0-1 1 0 0,0 1 0 0 0,0-1 0 0 0,1 1 0 0 0,-1-1 0 0 0,1 0-1 0 0,-1 0 1 0 0,1-1 0 0 0,1-31-3897 0 0,-1 31 3141 0 0,1 0 0 0 0,-1-1-1 0 0,1 1 1 0 0,0 0 0 0 0,0 0 0 0 0,0 0 0 0 0,1 0 0 0 0,1-4-1 0 0,1-1-1811 0 0,4-7-974 0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6.98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32 48 8 0 0,'-24'-10'0'0'0,"-4"1"0"0"0,1 5 0 0 0,-1 3 0 0 0,4 3 29 0 0,15 0 185 0 0,-7 6 292 0 0,12-6 57 0 0,-1 0-9 0 0,-11 5-26 0 0,12-6 0 0 0,0 2 0 0 0,-13 7-29 0 0,13-8 392 0 0,1 2-490 0 0,-12 11-34 0 0,11-12 1144 0 0,5 1-1263 0 0,2 13-11 0 0,-2-13 13 0 0,4-3 20 0 0,0 0-176 0 0,-3 0-35 0 0,0 0 1 0 0,0-1 0 0 0,0 0-1 0 0,1 1 1 0 0,-1-1 0 0 0,0 0-1 0 0,5 0 1 0 0,-2 0 40 0 0,-2 1-30 0 0,0-1 1 0 0,-1 0-1 0 0,1 0 1 0 0,0 0-1 0 0,0-1 1 0 0,3 0 0 0 0,168-14 1440 0 0,-149 13-1386 0 0,152-26 519 0 0,-118 17-544 0 0,157-26 47 0 0,-186 30-203 0 0,-14 4-892 0 0,27-4-1 0 0,-38 5 499 0 0,4 1 163 0 0,4 2-4131 0 0,3 3 2759 0 0,-11-4-110 0 0</inkml:trace>
</inkml:ink>
</file>

<file path=ppt/ink/ink3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7.96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4 64 8 0 0,'-13'6'5468'0'0,"15"-7"-5277"0"0,10-5 281 0 0,-12 5-453 0 0,0 0 0 0 0,1 1 0 0 0,-1-1 0 0 0,0 0 0 0 0,1 0 0 0 0,-1 1 0 0 0,1-1 0 0 0,-1 0 0 0 0,1 1-1 0 0,-1-1 1 0 0,1 1 0 0 0,0-2 0 0 0,0 1 17 0 0,0-1 216 0 0,1 0-121 0 0,3-6-22 0 0,-3 6-30 0 0,-2 0 8 0 0,3-7-35 0 0,-2 7-5 0 0,-1 0 2 0 0,1-1 27 0 0,-1 3 4 0 0,1-1 0 0 0,-1 0 1 0 0,0 0-1 0 0,0 0 0 0 0,1 1 1 0 0,-1-1-1 0 0,0 0 0 0 0,0 0 1 0 0,0 0-1 0 0,0 0 0 0 0,0 1 1 0 0,0-2-1 0 0,-3 0 190 0 0,-7-3-5 0 0,10 5-257 0 0,0 0 0 0 0,-1-1 0 0 0,1 1 0 0 0,0 0 0 0 0,0 0 0 0 0,0 0 0 0 0,0 0 1 0 0,0 0-1 0 0,0 0 0 0 0,-1 0 0 0 0,1 0 0 0 0,0 0 0 0 0,0 0 0 0 0,0 0 0 0 0,0 0 0 0 0,-1 0 0 0 0,1 0 0 0 0,0 0 0 0 0,0 0 1 0 0,0 0-1 0 0,0 0 0 0 0,0 0 0 0 0,-1 0 0 0 0,1 0 0 0 0,0 0 0 0 0,0 0 0 0 0,0 0 0 0 0,0 0 0 0 0,-1 0 0 0 0,1 0 0 0 0,0 0 1 0 0,0 1-1 0 0,-27 16 816 0 0,-16 21 533 0 0,32-28-675 0 0,1 1 0 0 0,-12 17 0 0 0,8-11 104 0 0,11-14-660 0 0,2-2-81 0 0,0 0 0 0 0,0 0 0 0 0,0 0-1 0 0,0 0 1 0 0,0 1 0 0 0,0-1 0 0 0,0 0 0 0 0,1 1-1 0 0,-1-1 1 0 0,0 0 0 0 0,0 3 0 0 0,1-3-12 0 0,-2 1-7 0 0,1 0 1 0 0,0 0-1 0 0,0 0 0 0 0,0 0 0 0 0,1 0 0 0 0,-1 0 1 0 0,0 0-1 0 0,1 0 0 0 0,0 0 0 0 0,-1 0 0 0 0,1 1 1 0 0,0-1-1 0 0,0 4 0 0 0,3 4-59 0 0,-2-8-101 0 0,1 0-158 0 0,21 4-1877 0 0,-17-5-230 0 0,-1 0 0 0 0,1-1-1 0 0,8 0 1 0 0,3-1-594 0 0</inkml:trace>
</inkml:ink>
</file>

<file path=ppt/ink/ink3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8.37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14 15 8 0 0,'-4'-15'9633'0'0,"2"16"-8964"0"0,0-1-528 0 0,0 0-1 0 0,0 1 1 0 0,0-1-1 0 0,0 1 1 0 0,0 0-1 0 0,0-1 1 0 0,0 1-1 0 0,0 0 1 0 0,1 0-1 0 0,-1 0 1 0 0,0 0-1 0 0,1 1 1 0 0,-1-1-1 0 0,1 0 1 0 0,-1 1-1 0 0,-1 1 1 0 0,-17 25 696 0 0,7-11-168 0 0,1 1-1 0 0,-13 28 1 0 0,10-12-253 0 0,1 1 0 0 0,3 0 0 0 0,0 1 1 0 0,-8 60-1 0 0,-6 150 62 0 0,19-155-514 0 0,1 18-136 0 0,8-91-2420 0 0,8-18 396 0 0,-11 0 2158 0 0,0 0 0 0 0,0 0 0 0 0,0 0 0 0 0,0 0-1 0 0,0 0 1 0 0,0 0 0 0 0,0 0 0 0 0,1 0 0 0 0,-1 0-1 0 0,0 0 1 0 0,0 0 0 0 0,0 0 0 0 0,0 0 0 0 0,0 0-1 0 0,0-1 1 0 0,0 1 0 0 0,0 0 0 0 0,0 0 0 0 0,2-2-765 0 0,12-43-9646 0 0,-11 31 9329 0 0</inkml:trace>
</inkml:ink>
</file>

<file path=ppt/ink/ink3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8.71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0 100 2985 0 0,'-16'-3'11325'0'0,"13"-9"-10054"0"0,3 12-1259 0 0,0 0 1 0 0,0 0 0 0 0,0 0-1 0 0,0 0 1 0 0,0 0 0 0 0,0 0-1 0 0,0 0 1 0 0,0 0 0 0 0,0 0 0 0 0,0-1-1 0 0,0 1 1 0 0,0 0 0 0 0,0 0-1 0 0,0 0 1 0 0,0 0 0 0 0,0 0-1 0 0,0 0 1 0 0,0 0 0 0 0,0-1-1 0 0,0 1 1 0 0,0 0 0 0 0,0 0-1 0 0,0 0 1 0 0,0 0 0 0 0,0 0-1 0 0,0 0 1 0 0,0 0 0 0 0,0 0 0 0 0,0 0-1 0 0,0 0 1 0 0,0-1 0 0 0,0 1-1 0 0,0 0 1 0 0,0 0 0 0 0,0 0-1 0 0,1 0 1 0 0,-1 0 0 0 0,0 0-1 0 0,0 0 1 0 0,0 0 0 0 0,0 0-1 0 0,0 0 1 0 0,0 0 0 0 0,0 0-1 0 0,17-11 299 0 0,1 2 0 0 0,0 0 0 0 0,0 1 0 0 0,0 1-1 0 0,1 0 1 0 0,23-4 0 0 0,-6 4-950 0 0,1 1 0 0 0,53-1 0 0 0,-35 8-3454 0 0,-41 0-591 0 0,26 6 0 0 0,-23-2 1743 0 0</inkml:trace>
</inkml:ink>
</file>

<file path=ppt/ink/ink3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09.03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6 0 5169 0 0,'-13'4'1921'0'0,"0"1"-1"0"0,1 0 1 0 0,-15 8-1 0 0,17-8 731 0 0,17-2-2618 0 0,1-2 0 0 0,0 1 1 0 0,0-1-1 0 0,0 0 0 0 0,0-1 0 0 0,12-1 1 0 0,-11 1-14 0 0,-6 0-17 0 0,8 0 23 0 0,1 1-1 0 0,0-1 0 0 0,13 4 0 0 0,-23-3-22 0 0,1-1 4 0 0,-1 0 0 0 0,0 1 1 0 0,1-1-1 0 0,-1 1 1 0 0,1 0-1 0 0,-1-1 1 0 0,0 1-1 0 0,0 0 0 0 0,1 1 1 0 0,-1-1-1 0 0,0 0 1 0 0,3 3-1 0 0,-3-2 7 0 0,-1-2-8 0 0,0 0 0 0 0,-1 1-1 0 0,1-1 1 0 0,0 1 0 0 0,-1-1-1 0 0,1 1 1 0 0,-1 0 0 0 0,1-1-1 0 0,-1 1 1 0 0,1 0 0 0 0,-1-1-1 0 0,1 1 1 0 0,-1 0 0 0 0,1 0-1 0 0,-1-1 1 0 0,1 2 0 0 0,0 0 15 0 0,-1-1-15 0 0,1-1 1 0 0,-1 1-1 0 0,1 0 0 0 0,-1 0 0 0 0,1-1 1 0 0,-1 1-1 0 0,0 0 0 0 0,0 0 1 0 0,1-1-1 0 0,-1 1 0 0 0,0 0 0 0 0,0 0 1 0 0,0-1-1 0 0,0 1 0 0 0,0 0 0 0 0,0 0 1 0 0,0 0-1 0 0,0 0 0 0 0,0 0 0 0 0,-1 9 18 0 0,-1 1-1 0 0,0-1 1 0 0,0 0-1 0 0,-1 0 1 0 0,-1-1-1 0 0,-6 14 1 0 0,-34 58 58 0 0,34-64-43 0 0,-23 33 499 0 0,20-31 162 0 0,1 0 0 0 0,-12 25 0 0 0,16-15 109 0 0,7-29-796 0 0,1 1 0 0 0,0-1 0 0 0,0 1 0 0 0,0-1 0 0 0,0 1 0 0 0,-1-1 0 0 0,1 1 0 0 0,0-1 0 0 0,0 1-1 0 0,0 0 1 0 0,0-1 0 0 0,0 1 0 0 0,1-1 0 0 0,-1 1 0 0 0,0-1 0 0 0,0 1 0 0 0,0-1 0 0 0,0 1 0 0 0,1-1 0 0 0,-1 1 0 0 0,2 6 187 0 0,0-5-70 0 0,10 8-2 0 0,-6-8-24 0 0,-3-1-72 0 0,-2 0-20 0 0,0-1 0 0 0,1 1 0 0 0,-1-1 0 0 0,0 0 0 0 0,0 0 0 0 0,1 0 1 0 0,-1 0-1 0 0,0 0 0 0 0,0 0 0 0 0,1 0 0 0 0,1-1 0 0 0,28-4-121 0 0,-1-2 0 0 0,46-17 0 0 0,-14 4-1863 0 0,5-1-5265 0 0,-40 13 1589 0 0,-6 1-119 0 0</inkml:trace>
</inkml:ink>
</file>

<file path=ppt/ink/ink3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10.88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0 1 8 0 0,'-11'29'11733'0'0,"12"-29"-11643"0"0,0 0 0 0 0,0 1 0 0 0,-1-1 0 0 0,1 1 0 0 0,0-1-1 0 0,0 1 1 0 0,0-1 0 0 0,-1 1 0 0 0,1-1 0 0 0,0 1 0 0 0,-1 0 0 0 0,2 0-1 0 0,-2 0 57 0 0,3 1 341 0 0,-1-2-53 0 0,43 1 1804 0 0,-41-1-2161 0 0,-1 1 0 0 0,1-1 0 0 0,0 1 0 0 0,0 0 0 0 0,-1-1 0 0 0,1 2 0 0 0,-1-1 0 0 0,1 0 0 0 0,-1 1 0 0 0,1 0 0 0 0,-1-1 0 0 0,0 1 0 0 0,0 1 0 0 0,0-1 0 0 0,0 0-1 0 0,4 5 1 0 0,-3-4-41 0 0,-3-1-14 0 0,1-1 0 0 0,-1 1 1 0 0,0-1-1 0 0,1 1 0 0 0,-1 0 0 0 0,0-1 1 0 0,1 4-1 0 0,15 27 207 0 0,20 49 0 0 0,8 43-98 0 0,-24-62-52 0 0,65 211 382 0 0,-68-200-63 0 0,14 135-1 0 0,-30-164-210 0 0,-1-1 0 0 0,-3 1 0 0 0,-1-1 0 0 0,-2 1 0 0 0,-2-1 0 0 0,-2 0 0 0 0,-29 80 1 0 0,-40 57 467 0 0,-16-6-152 0 0,-92 128-53 0 0,176-287-473 0 0,4-5-105 0 0,-1 0 0 0 0,-1 0 1 0 0,0-1-1 0 0,0 0 0 0 0,-15 13 0 0 0,21-20-428 0 0,-1-2-299 0 0,-6 0-434 0 0</inkml:trace>
</inkml:ink>
</file>

<file path=ppt/ink/ink3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26.54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9 43 8 0 0,'-8'-13'0'0'0,"1"2"44"0"0,-6-4 6068 0 0,11 15-5361 0 0,-8-4 1312 0 0,9 6-1754 0 0,0 0 0 0 0,0 1 0 0 0,0-1 0 0 0,0 0 0 0 0,1 0 0 0 0,-1 1 1 0 0,1-1-1 0 0,-1 4 0 0 0,1-6-256 0 0,-1 11 1032 0 0,1 0 1 0 0,0 19-1 0 0,1-10-413 0 0,15 265 1995 0 0,-1-91-2562 0 0,8 170-290 0 0,-8-142 92 0 0,-8-17-1032 0 0,-8-193 476 0 0,1-12 625 0 0,0 0-1 0 0,0 0 1 0 0,0 0 0 0 0,0 0-1 0 0,0 0 1 0 0,0 0 0 0 0,-1 0-1 0 0,1 0 1 0 0,0 0 0 0 0,0 0-1 0 0,0 0 1 0 0,0 0 0 0 0,0 0-1 0 0,0 0 1 0 0,0 0 0 0 0,0 0-1 0 0,0 0 1 0 0,0 0 0 0 0,-1 0-1 0 0,1-1 1 0 0,0 1 0 0 0,0 0-1 0 0,0 0 1 0 0,0 0 0 0 0,0 0-1 0 0,0 0 1 0 0,0 0 0 0 0,0 0-1 0 0,0 0 1 0 0,0 0 0 0 0,0 0-1 0 0,0 0 1 0 0,0 0 0 0 0,0 0-1 0 0,0-1 1 0 0,0 1 0 0 0,0 0-1 0 0,-1 0 1 0 0,1 0 0 0 0,0 0-1 0 0,0 0 1 0 0,0 0 0 0 0,0 0-1 0 0,0 0 1 0 0,0 0 0 0 0,0 0-1 0 0,0-1 1 0 0,0 1-1 0 0,0 0 1 0 0,1 0 0 0 0,-6-22-1848 0 0,-7-71-5985 0 0,2 19 2679 0 0,6 37 4873 0 0</inkml:trace>
</inkml:ink>
</file>

<file path=ppt/ink/ink3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27.12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3 149 784 0 0,'-27'9'3650'0'0,"-46"22"-1"0"0,60-26-936 0 0,16-7-2116 0 0,23-13 1328 0 0,-6 5-1113 0 0,-1 0 1 0 0,2 1-1 0 0,32-9 1 0 0,64-9 183 0 0,-114 26-970 0 0,209-28 653 0 0,3 17-474 0 0,-108 7-258 0 0,344 2-530 0 0,-53 2-470 0 0,-354-2 1111 0 0,-1-2 1 0 0,0-2-1 0 0,79-23 0 0 0,-105 26 56 0 0,-14 3-49 0 0,-1 1 8 0 0,8-1 18 0 0,-8 1 737 0 0,-3 2-632 0 0,-4 8-10 0 0,4-7-9 0 0,-1 0-1 0 0,-6 6 46 0 0,0 1 0 0 0,1 0 0 0 0,0 1 1 0 0,1 0-1 0 0,0 0 0 0 0,-7 19 0 0 0,4-1 24 0 0,1 2 1 0 0,1-1-1 0 0,-2 32 0 0 0,-4 99 605 0 0,11-117-804 0 0,-5 196-8 0 0,5-83-73 0 0,8 138-271 0 0,18 35 242 0 0,-19-244 192 0 0,-4-49-3189 0 0,-2-51-1632 0 0,-1 1 0 0 0,-7-25 0 0 0,-1 10-192 0 0,3 13 4784 0 0</inkml:trace>
</inkml:ink>
</file>

<file path=ppt/ink/ink3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39:27.53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37 13 8 0 0,'-28'5'2001'0'0,"-24"4"241"0"0,0-3 0 0 0,-85 1 0 0 0,87-11 75 0 0,46 4-1852 0 0,2-1-35 0 0,1 0-254 0 0,0 0-64 0 0,0 1 1 0 0,1-1-1 0 0,-1 1 1 0 0,0 0-1 0 0,1-1 0 0 0,-1 1 1 0 0,0 0-1 0 0,1 0 1 0 0,-1 0-1 0 0,0-1 0 0 0,0 1 1 0 0,0 0-1 0 0,3-2 430 0 0,8-6 63 0 0,-3 5 43 0 0,22-3 563 0 0,1 1 0 0 0,41 0 1 0 0,65 5 797 0 0,-121 0-1854 0 0,422 23 1465 0 0,-273-11-1423 0 0,247 17-518 0 0,-138-7-6567 0 0,-203-18 236 0 0,-24-5-1810 0 0,-32-1 7799 0 0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7.52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0 1 8 0 0,'-3'4'255'0'0,"-9"12"301"0"0,9-11 20 0 0,3-2-55 0 0,-3 21 544 0 0,3-18-971 0 0,0-3-32 0 0,-1 0 1 0 0,1 0 0 0 0,0-1-1 0 0,-1 1 1 0 0,0 0-1 0 0,-1 5 1 0 0,-3 6 183 0 0,4-10-3 0 0,-2 1 1 0 0,-8 27 220 0 0,1-5-64 0 0,-1 6 7 0 0,9-25-334 0 0,-7 22 326 0 0,-3 26 577 0 0,4 0 0 0 0,-3 82 0 0 0,18 122-75 0 0,-1-165-892 0 0,-3-38-11 0 0,13 77 0 0 0,-13-120 9 0 0,-1-2 12 0 0,0-1 1 0 0,1 1-1 0 0,9 19 0 0 0,-6-16 11 0 0,-4-11-5 0 0,1 0-8 0 0,8 12-34 0 0,-8-11-48 0 0,1-8-1090 0 0,13-9 523 0 0,-13 9-170 0 0,-3-2-185 0 0,6-28-1683 0 0,-6 28 2123 0 0,2-15-2226 0 0,-1-3 2450 0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7.87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4 197 8 0 0,'-24'6'0'0'0,"20"-4"0"0"0,0-1 0 0 0,0 1 0 0 0,0 0 0 0 0,-3 2 0 0 0,-17 15 0 0 0,3 0 44 0 0,17-14 719 0 0,1-2-504 0 0,-11 16 2269 0 0,18-21-2121 0 0,12-7-7 0 0,-12 7 1 0 0,-2 2-331 0 0,-1 0-1 0 0,1 0 0 0 0,-1 0 1 0 0,1 0-1 0 0,-1-1 0 0 0,0 1 1 0 0,1-1-1 0 0,-1 1 0 0 0,3-2 1 0 0,0 0 65 0 0,0 1 271 0 0,1-1-19 0 0,25-13 347 0 0,-1 3 7 0 0,2 2-13 0 0,2 0-167 0 0,43-6 0 0 0,43-2 98 0 0,-44 7-411 0 0,-10 1-227 0 0,106-33 0 0 0,-168 43-70 0 0,0-1 0 0 0,0 0-1 0 0,0 0 1 0 0,-1-1-1 0 0,1 1 1 0 0,-1-1 0 0 0,1 1-1 0 0,2-3 1 0 0,1 0-79 0 0,10-5-653 0 0,-4 1 321 0 0,-1-1-622 0 0,6-5-154 0 0,-13 11-257 0 0,1-2-291 0 0,15-15-142 0 0,-14 12 763 0 0,5-11 962 0 0</inkml:trace>
</inkml:ink>
</file>

<file path=ppt/ink/ink3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8.42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8 126 8 0 0,'-36'11'0'0'0,"3"2"119"0"0,10-6 511 0 0,19-6 263 0 0,0 0 12 0 0,-16 1 3517 0 0,17-6-4005 0 0,-9-13-51 0 0,9 13-14 0 0,7 0-10 0 0,0 0-234 0 0,-2 1-35 0 0,0 1 0 0 0,0 0 0 0 0,0 0 0 0 0,0 0 0 0 0,0 0 0 0 0,5-2 0 0 0,-2-1 14 0 0,-3 3-38 0 0,1 0-1 0 0,-1 0 1 0 0,1 0-1 0 0,-1 1 1 0 0,1-1 0 0 0,-1 1-1 0 0,5-2 1 0 0,33-16 342 0 0,64-21 1 0 0,-77 32-255 0 0,1 1 0 0 0,0 1 0 0 0,49-4 0 0 0,-58 10-18 0 0,34 6 1 0 0,-52-6-118 0 0,2 0 5 0 0,-1 0 1 0 0,0 1-1 0 0,1-1 0 0 0,-1 1 0 0 0,0-1 1 0 0,0 1-1 0 0,1 0 0 0 0,-1 0 1 0 0,0 0-1 0 0,2 1 0 0 0,2 1 6 0 0,-4-2-6 0 0,0 0-1 0 0,1 0 0 0 0,-1-1 0 0 0,0 2 0 0 0,0-1 0 0 0,0 0 0 0 0,0 0 0 0 0,4 4 1 0 0,-1-1 5 0 0,-1-2 28 0 0,0 4 2 0 0,13 15 2 0 0,-17-20-41 0 0,1-1 0 0 0,-1 1-1 0 0,1 0 1 0 0,-1-1 0 0 0,1 1 0 0 0,-1 0 0 0 0,0 0 0 0 0,1-1 0 0 0,-1 1 0 0 0,0 0-1 0 0,1 0 1 0 0,-1 0 0 0 0,5 19 41 0 0,-4-9-3 0 0,-1-4-27 0 0,0-4-6 0 0,0 0 0 0 0,0 0 0 0 0,0 0 0 0 0,-1 1 0 0 0,1-1 0 0 0,-1 0 0 0 0,-1 4 0 0 0,-5 17 4 0 0,-17 43 0 0 0,-20 29-14 0 0,9-22-12 0 0,4-3-4 0 0,-70 111 1 0 0,50-98 300 0 0,46-77-240 0 0,1-1 7 0 0,0 0 1 0 0,0-1-1 0 0,-3 9 0 0 0,-4 9 26 0 0,7-11-21 0 0,-1 9-19 0 0,4-12-4 0 0,3 8-4 0 0,0-9-19 0 0,0-5-10 0 0,-1 0 1 0 0,1 0-1 0 0,-1 0 0 0 0,1 0 1 0 0,3 3-1 0 0,-3-3-1 0 0,0-2 0 0 0,-1 0 1 0 0,0 0 0 0 0,0 1-1 0 0,1-1 1 0 0,-1 0 0 0 0,0-1-1 0 0,1 1 1 0 0,-1 0 0 0 0,1 0-1 0 0,-1-1 1 0 0,1 1-1 0 0,0-1 1 0 0,-1 1 0 0 0,1-1-1 0 0,2 1 1 0 0,6 1-8 0 0,0 0-1 0 0,1-1 1 0 0,-1 0 0 0 0,0 0-1 0 0,20-3 1 0 0,-14-1-138 0 0,0 0 0 0 0,0-1 0 0 0,-1-1 0 0 0,0-1 0 0 0,0 0-1 0 0,18-10 1 0 0,82-57-5061 0 0,-102 64 4124 0 0,46-32-3549 0 0,-30 20 4336 0 0</inkml:trace>
</inkml:ink>
</file>

<file path=ppt/ink/ink3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9.03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5 0 8 0 0,'-22'20'1790'0'0,"20"-17"-1558"0"0,-7 12-96 0 0,7-11 177 0 0,3 0-275 0 0,1 14 3916 0 0,-2-14-3741 0 0,2 11-28 0 0,-2-12 405 0 0,5 1-429 0 0,13 9 13 0 0,-14-10 3 0 0,1-1 3 0 0,22 13 147 0 0,-22-12-278 0 0,17 10 215 0 0,9 7 78 0 0,-23-16-281 0 0,22 15 228 0 0,9 9 42 0 0,35 30 23 0 0,-64-48-282 0 0,20 25 14 0 0,32 45 0 0 0,-29-30-66 0 0,-2 3 1 0 0,-3 0-1 0 0,-1 2 1 0 0,-4 0-1 0 0,-1 2 1 0 0,-3 1-1 0 0,15 78 1 0 0,-7 33-99 0 0,-7 1 1 0 0,-2 220 0 0 0,-35-100-192 0 0,9-232 289 0 0,-3 0-1 0 0,-36 109 1 0 0,39-147 9 0 0,-1 0 0 0 0,0-1 0 0 0,-2 0 0 0 0,-20 28 1 0 0,9-23-10 0 0,16-18-24 0 0,6-5-2 0 0,-1 0 0 0 0,0 0 0 0 0,1 0 1 0 0,-1-1-1 0 0,0 1 0 0 0,0 0 1 0 0,0-1-1 0 0,0 1 0 0 0,1-1 1 0 0,-3 1-1 0 0,-16 9-166 0 0,17-9 116 0 0,1 0-1 0 0,0 0 1 0 0,-1-1 0 0 0,1 1-1 0 0,-1-1 1 0 0,1 1 0 0 0,-1-1-1 0 0,1 1 1 0 0,-1-1 0 0 0,1 0 0 0 0,-1 0-1 0 0,-1 1 1 0 0,-2-1-152 0 0,5 0 162 0 0,-1 0 1 0 0,1 0 0 0 0,0 0-1 0 0,-1 0 1 0 0,1 0 0 0 0,-1 0-1 0 0,1 0 1 0 0,-1 0 0 0 0,1 0-1 0 0,0 0 1 0 0,-1 0-1 0 0,1 0 1 0 0,-1 0 0 0 0,1 0-1 0 0,0 0 1 0 0,-1-1 0 0 0,1 1-1 0 0,-1 0 1 0 0,-4-1-333 0 0,3 0 118 0 0,0 1 0 0 0,1-1 0 0 0,-1 0 0 0 0,0 1 0 0 0,0-1 0 0 0,0 0 0 0 0,1 0 0 0 0,-1 0 0 0 0,-1-2 0 0 0,-2 1-449 0 0,3 1 258 0 0,1 0 0 0 0,-1 0 0 0 0,0 0 0 0 0,0 0 0 0 0,1-1 0 0 0,-1 1 0 0 0,1 0 0 0 0,-3-4 0 0 0,-15-13-54 0 0</inkml:trace>
</inkml:ink>
</file>

<file path=ppt/ink/ink3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09.79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98 82 8 0 0,'-8'-22'0'0'0,"-3"0"13"0"0,-7 0 2281 0 0,13 19-1899 0 0,-13-7-30 0 0,14 8 295 0 0,-1 5-347 0 0,-13 8-9 0 0,13-8-14 0 0,1 2-35 0 0,-2 0-182 0 0,3-3-24 0 0,0 1 0 0 0,0 0 1 0 0,0 0-1 0 0,0 1 0 0 0,-3 4 0 0 0,1-3-8 0 0,2-2-21 0 0,0 0 1 0 0,1 1-1 0 0,-1-1 0 0 0,1 0 0 0 0,0 1 1 0 0,-2 5-1 0 0,-62 119 149 0 0,51-94-125 0 0,-91 213 1066 0 0,78-172-326 0 0,-26 107 0 0 0,27-56-397 0 0,5 2 0 0 0,6 0 0 0 0,0 226 0 0 0,21-255-381 0 0,4 0-1 0 0,5-1 0 0 0,4 0 1 0 0,5-1-1 0 0,38 104 0 0 0,-39-141-618 0 0,3-1 0 0 0,34 58 0 0 0,-41-85-808 0 0,2-1 1 0 0,2 0-1 0 0,0-2 0 0 0,53 52 0 0 0,-23-36 453 0 0</inkml:trace>
</inkml:ink>
</file>

<file path=ppt/ink/ink3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0.6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 40 8 0 0,'-27'5'0'0'0,"26"-5"0"0"0,-1 0 0 0 0,0 1 0 0 0,1-1 0 0 0,-1 1 0 0 0,0-1 0 0 0,1 1 0 0 0,-1-1 0 0 0,1 1 0 0 0,-1 0 0 0 0,-2 2 0 0 0,3-2 0 0 0,1-1 0 0 0,-1 1 0 0 0,1 0 0 0 0,-1 0 0 0 0,1 0 0 0 0,-1 0 0 0 0,1 0 0 0 0,0 0 0 0 0,-1 0 0 0 0,1 0 0 0 0,0 0 0 0 0,0 0 0 0 0,0 0 0 0 0,-1 0 0 0 0,1 0 0 0 0,0 0 0 0 0,1 0 0 0 0,-1 1 0 0 0,0 2 0 0 0,1-1 0 0 0,0 0 0 0 0,0 1 0 0 0,3 4 0 0 0,-3-7 0 0 0,11 27 0 0 0,-10-26 0 0 0,-1 1 0 0 0,1-1 0 0 0,0 1 0 0 0,0-1 0 0 0,0 0 0 0 0,0 0 0 0 0,3 2 0 0 0,-3-2 3 0 0,0-1 0 0 0,0 1 0 0 0,1-1 0 0 0,-1 0 1 0 0,4 1-1 0 0,-6-2 0 0 0,1 0-1 0 0,-1 0 1 0 0,0 0 0 0 0,0 1 0 0 0,0-1 0 0 0,1 0 0 0 0,-1 0-1 0 0,0 0 1 0 0,0 0 0 0 0,1 0 0 0 0,-1 0 0 0 0,0 0 0 0 0,0 0-1 0 0,0 0 1 0 0,1 0 0 0 0,-1 0 0 0 0,0 0 0 0 0,0 0 0 0 0,0-1-1 0 0,1 1 1 0 0,-1 0 0 0 0,0 0 0 0 0,0 0 0 0 0,0 0 0 0 0,1 0-1 0 0,-1 0 1 0 0,0 0 0 0 0,0-1 0 0 0,0 1 0 0 0,0 0 0 0 0,1 0-1 0 0,-1 0 1 0 0,0 0 0 0 0,0-1 0 0 0,0 1 0 0 0,0 0 0 0 0,0 0-1 0 0,0 0 1 0 0,1-1 0 0 0,13-15 205 0 0,-10 12 0 0 0,-2 0-24 0 0,6-11-26 0 0,-6 12-38 0 0,-1-2-36 0 0,2-13-22 0 0,-2 13-18 0 0,-1 1-5 0 0,0-14-6 0 0,0 13-1 0 0,0 2 0 0 0,-2-16 88 0 0,0 15-70 0 0,-6-12-2 0 0,6 11-7 0 0,-2 5-56 0 0,-11-4 15 0 0,11 4-12 0 0,1 2-13 0 0,-12 10 12 0 0,10-5 3 0 0,-2 7 0 0 0,3-4-5 0 0,3-8 14 0 0,0 0 0 0 0,0-1 0 0 0,0 1 0 0 0,1 0 0 0 0,-1 0 0 0 0,0 4 0 0 0,-1 7 19 0 0,0-9-7 0 0,2-2-3 0 0,-1-1 0 0 0,1 0 0 0 0,-1 1 0 0 0,1-1 0 0 0,0 1 0 0 0,-1-1 0 0 0,1 1 1 0 0,0-1-1 0 0,0 1 0 0 0,0-1 0 0 0,0 1 0 0 0,1 2 0 0 0,-1 1 35 0 0,3 19 266 0 0,2 3 192 0 0,-4-22-419 0 0,0-2-28 0 0,-1-1-1 0 0,1 1 1 0 0,-1 0-1 0 0,1-1 0 0 0,0 1 1 0 0,2 2-1 0 0,4 10 139 0 0,-6-11 200 0 0,3-1-186 0 0,13 10 1 0 0,-13-10-9 0 0,14-5 121 0 0,-14 2-210 0 0,0-2-29 0 0,13-6-5 0 0,-13 6-15 0 0,-1-2-4 0 0,12-9-4 0 0,-11 10-17 0 0,-1-1-9 0 0,1 0-16 0 0,-2 3-7 0 0,-1-1 1 0 0,0 1 0 0 0,1-1 0 0 0,-1 1-1 0 0,0-1 1 0 0,0 1 0 0 0,0-1 0 0 0,0 0 0 0 0,0 1-1 0 0,1-5 1 0 0,5-8-3 0 0,-6 10-18 0 0,0 0-62 0 0,0-13 25 0 0,0 13-6 0 0,-5 1-254 0 0,-13-10 260 0 0,13 10 10 0 0,0 4-134 0 0,-12 6 97 0 0,12-5-24 0 0,1 1-204 0 0,-9 12 91 0 0,9-11-37 0 0,2 0-449 0 0,-6 14 242 0 0,5-13-92 0 0,2-1-124 0 0,-1 16-3 0 0,2 3 538 0 0</inkml:trace>
</inkml:ink>
</file>

<file path=ppt/ink/ink3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7.60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9 1 8 0 0,'-4'1'0'0'0,"1"0"0"0"0,-1 1 0 0 0,0-1 0 0 0,1 1 0 0 0,-6 4 0 0 0,7-5 0 0 0,0 1 0 0 0,0 0 0 0 0,1-1 0 0 0,-1 1 0 0 0,1 0 0 0 0,-1 0 0 0 0,1 0 0 0 0,0 0 0 0 0,0 0 0 0 0,-1 4 0 0 0,1-3 0 0 0,0 0 0 0 0,0 0 0 0 0,1 1 0 0 0,-1-1 0 0 0,1 0 0 0 0,0 4 0 0 0,0-5 0 0 0,0 1 0 0 0,0-1 0 0 0,0 1 0 0 0,0-1 0 0 0,1 0 0 0 0,-1 1 0 0 0,3 3 0 0 0,-2-4 0 0 0,0 0 0 0 0,0 1 0 0 0,1-1 0 0 0,-1 0 0 0 0,1 0 0 0 0,-1-1 0 0 0,1 1 0 0 0,2 2 0 0 0,-2-2 0 0 0,0-1 0 0 0,0 0 0 0 0,-1 0 1 0 0,1 0-1 0 0,0 0 0 0 0,0 0 0 0 0,0 0 0 0 0,0-1 0 0 0,4 1 0 0 0,-1 1 48 0 0,-3-2 9 0 0,0 1 1 0 0,0-1-1 0 0,0 0 0 0 0,0 0 1 0 0,0 0-1 0 0,0 0 1 0 0,0 0-1 0 0,0 0 0 0 0,0 0 1 0 0,0 0-1 0 0,3-2 0 0 0,34-6 1836 0 0,-28 6-1293 0 0,0 1-346 0 0,0 1 251 0 0,-7-1-371 0 0,-2 1-59 0 0,0 0 0 0 0,0 0 0 0 0,0 0 1 0 0,0 0-1 0 0,0 0 0 0 0,0 0 0 0 0,-1 0 0 0 0,4 2 1 0 0,0-2 51 0 0,-4 0-74 0 0,1 0 0 0 0,-1 0 0 0 0,1 0 0 0 0,-1 0 0 0 0,1 1 0 0 0,-1-1 0 0 0,1 1 0 0 0,-1-1 0 0 0,1 1 0 0 0,-1-1 0 0 0,3 3 0 0 0,1-2 60 0 0,-3 0-61 0 0,0 0 0 0 0,0 0-1 0 0,-1-1 1 0 0,1 1 0 0 0,0 0 0 0 0,0 0 0 0 0,-1 1 0 0 0,1-1 0 0 0,2 2 0 0 0,1 1 36 0 0,-3-3-33 0 0,1 1 0 0 0,-1 0 0 0 0,1 0 1 0 0,-1 0-1 0 0,0 0 0 0 0,4 5 0 0 0,12 12 135 0 0,-10-8-34 0 0,6 15-12 0 0,-1 1-1 0 0,-1-1 1 0 0,10 35 0 0 0,-9-19-47 0 0,11 74 0 0 0,8 222-55 0 0,-21 15-233 0 0,-23 2 16 0 0,8-307 200 0 0,-14 134 394 0 0,13-152-299 0 0,-2-1-1 0 0,0 0 0 0 0,-2-1 0 0 0,-12 30 0 0 0,5-29 23 0 0,13-21-124 0 0,-13 23 65 0 0,-4 0-29 0 0,3-3-50 0 0,8-13 0 0 0,6-11 18 0 0,-1 0-43 0 0,-12 10-27 0 0,12-10-29 0 0,24-22-4555 0 0,-16 14 3906 0 0,5-5-1543 0 0,-7 7 2066 0 0,1-1-1 0 0,0 0 1 0 0,-1 0 0 0 0,4-6-1 0 0,9-11 167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6.47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6 222 4793 0 0,'-2'3'962'0'0,"-1"1"-652"0"0,-5 12 1169 0 0,1 4 2086 0 0,7-12-2709 0 0,0-6-88 0 0,3-2-122 0 0,5-1-414 0 0,-1-1 1 0 0,1 0 0 0 0,0 0-1 0 0,0 0 1 0 0,-1-1-1 0 0,0 0 1 0 0,1-1 0 0 0,-1 0-1 0 0,8-6 1 0 0,-6 4-150 0 0,-2-1 1 0 0,1-1 0 0 0,-1 1-1 0 0,0-1 1 0 0,0-1 0 0 0,-1 1-1 0 0,10-19 1 0 0,-10 18-46 0 0,-1-1 1 0 0,-1 0-1 0 0,0 0 0 0 0,0-1 0 0 0,-1 1 0 0 0,0-1 0 0 0,1-15 1 0 0,-3 4-27 0 0,-3 16-14 0 0,1 2 0 0 0,1 3 0 0 0,0 0 1 0 0,0 0 0 0 0,0 0 0 0 0,0 0 0 0 0,0 0 0 0 0,-1 1 0 0 0,1-1 0 0 0,0 0-1 0 0,-1 0 1 0 0,1 0 0 0 0,-1 0 0 0 0,1 1 0 0 0,0-1 0 0 0,-1 0 0 0 0,0 0 0 0 0,1 1 0 0 0,-2-2-1 0 0,1 0 0 0 0,0 1 0 0 0,1 1 0 0 0,-1-1-1 0 0,1 0 1 0 0,-1 0 0 0 0,1 1 0 0 0,-1-1 0 0 0,1 0 0 0 0,-1 1 0 0 0,0-1-1 0 0,1 1 1 0 0,-1-1 0 0 0,0 1 0 0 0,1-1 0 0 0,-1 1 0 0 0,0-1 0 0 0,-1 0-1 0 0,-1 0-5 0 0,-3-1-27 0 0,0 2 10 0 0,0-1 0 0 0,0 2 0 0 0,0-1 0 0 0,0 1 0 0 0,0 0 1 0 0,1 0-1 0 0,-1 0 0 0 0,0 1 0 0 0,1 0 0 0 0,-1 0 0 0 0,1 0 0 0 0,-1 1 0 0 0,1 0 0 0 0,-7 5 0 0 0,-5 5-36 0 0,1 0 0 0 0,0 2 0 0 0,1 0 0 0 0,-12 17-1 0 0,7-7 3 0 0,2 0 1 0 0,-15 31-1 0 0,25-41 45 0 0,1 0 1 0 0,1 1-1 0 0,0 0 1 0 0,1-1-1 0 0,1 2 1 0 0,1-1-1 0 0,0 0 1 0 0,1 1-1 0 0,0 27 1 0 0,2-31 16 0 0,1 0 0 0 0,0 0-1 0 0,1-1 1 0 0,0 1 0 0 0,1-1 0 0 0,1 1 0 0 0,0-1 0 0 0,0 0 0 0 0,2-1 0 0 0,-1 1 0 0 0,1-1 0 0 0,1 0 0 0 0,9 12 0 0 0,-13-19 5 0 0,0 0 1 0 0,1-1-1 0 0,-1 1 0 0 0,1-1 0 0 0,0 0 0 0 0,0 0 0 0 0,0 0 0 0 0,0-1 0 0 0,1 1 0 0 0,-1-1 0 0 0,1 0 1 0 0,-1 0-1 0 0,1-1 0 0 0,7 3 0 0 0,-5-3 18 0 0,0-1 0 0 0,1 1 1 0 0,-1-1-1 0 0,0-1 0 0 0,0 1 0 0 0,0-1 1 0 0,1 0-1 0 0,-1-1 0 0 0,8-2 0 0 0,5-3-67 0 0,-1 0 0 0 0,0-1 0 0 0,0-1 0 0 0,-1-1-1 0 0,0-1 1 0 0,-1 0 0 0 0,0-2 0 0 0,-1 1-1 0 0,24-25 1 0 0,-24 19-92 0 0,-1 0 0 0 0,0-1 0 0 0,-2 0 0 0 0,0-2 0 0 0,-1 1 0 0 0,-1-1 0 0 0,-1-1 0 0 0,8-24 0 0 0,-15 38 122 0 0,14-47-46 0 0,-15 49 63 0 0,-1-1-1 0 0,0 0 0 0 0,0 0 0 0 0,0 0 0 0 0,-1-12 1 0 0,-4 3 86 0 0,3 13 122 0 0,-1 1-55 0 0,-8-5 23 0 0,7 5 7 0 0,1 5-6 0 0,-1-2-131 0 0,2 0-37 0 0,0-1 0 0 0,0 1 0 0 0,0 0-1 0 0,1-1 1 0 0,-1 1 0 0 0,0 0 0 0 0,0 0 0 0 0,1 0-1 0 0,-1-1 1 0 0,0 1 0 0 0,1 0 0 0 0,-1 0 0 0 0,1 0-1 0 0,-1 0 1 0 0,1 0 0 0 0,-1 1 0 0 0,-5 15 92 0 0,0 0 1 0 0,1 1-1 0 0,1-1 1 0 0,-3 29-1 0 0,0 79 357 0 0,9-60-167 0 0,1-15 12 0 0,-3-49-301 0 0,0-1 1 0 0,0 1-1 0 0,0 0 1 0 0,0 0-1 0 0,0-1 1 0 0,0 1-1 0 0,0 0 0 0 0,0-1 1 0 0,0 1-1 0 0,1 0 1 0 0,-1-1-1 0 0,0 1 1 0 0,0-1-1 0 0,1 1 1 0 0,-1 0-1 0 0,1 0 1 0 0,-1-1 50 0 0,1 1 0 0 0,-1-1 1 0 0,0 1-1 0 0,0-1 1 0 0,1 0-1 0 0,-1 1 0 0 0,0-1 1 0 0,0 1-1 0 0,0-1 1 0 0,0 1-1 0 0,0-1 0 0 0,1 1 1 0 0,-1-1-1 0 0,0 1 0 0 0,0-1 1 0 0,0 1-1 0 0,2-1 259 0 0,6-4-34 0 0,-8 4-275 0 0,0 0 0 0 0,1 0 0 0 0,-1 0 0 0 0,0-1 0 0 0,0 1 0 0 0,0 0 0 0 0,0 0 0 0 0,1 0 0 0 0,-1 0 0 0 0,0 0-1 0 0,0 0 1 0 0,0-1 0 0 0,0 1 0 0 0,0 0 0 0 0,0 0 0 0 0,1 0 0 0 0,-1 0 0 0 0,0-1 0 0 0,0 1 0 0 0,0 0 0 0 0,0 0 0 0 0,0 0 0 0 0,0-1 0 0 0,0 1 0 0 0,0 0 0 0 0,29-90 633 0 0,11-32-528 0 0,-32 103-129 0 0,0 0-1 0 0,2 0 1 0 0,0 1-1 0 0,15-19 1 0 0,-19 27 0 0 0,2 2 0 0 0,-1-1 1 0 0,1 1-1 0 0,0 0 0 0 0,1 1 0 0 0,18-13 0 0 0,-23 18-54 0 0,0-1 0 0 0,1 1 0 0 0,0 0 0 0 0,-1 0 0 0 0,1 0-1 0 0,0 1 1 0 0,0 0 0 0 0,0 0 0 0 0,0 0 0 0 0,0 1 0 0 0,0-1 0 0 0,0 1-1 0 0,0 0 1 0 0,0 1 0 0 0,0-1 0 0 0,0 1 0 0 0,9 3 0 0 0,-3-1-1032 0 0,-1 2 0 0 0,0-1 0 0 0,13 9 0 0 0,27 21-9237 0 0,-33-22 6465 0 0</inkml:trace>
</inkml:ink>
</file>

<file path=ppt/ink/ink4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9.18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5 84 8 0 0,'-22'5'2513'0'0,"18"-3"-1904"0"0,-14 6 4407 0 0,22-9-4611 0 0,14-6 27 0 0,-13 5 38 0 0,0 2 50 0 0,0 0-341 0 0,19 1 725 0 0,4 1 44 0 0,8 1-173 0 0,27 5-162 0 0,107 11 343 0 0,-131-17-878 0 0,-31-1-64 0 0,-5 0-5 0 0,1-1 1 0 0,-1 1-1 0 0,1-1 1 0 0,-1 0-1 0 0,1 0 0 0 0,3-1 1 0 0,-1 1 2 0 0,17-3 57 0 0,-7 0-21 0 0,-12 2 0 0 0,1 0 0 0 0,0 0-29 0 0,-2 0 10 0 0,0 1-1 0 0,-1-1 0 0 0,1 0 0 0 0,-1 1 0 0 0,1-1 0 0 0,2-2 0 0 0,10-4 7 0 0,-11 6 186 0 0,-8 4-213 0 0,-13 10 0 0 0,13-10 23 0 0,0 1-23 0 0,-12 11-5 0 0,11-11 5 0 0,1-1 5 0 0,0 1-10 0 0,2-2-1 0 0,0 0 0 0 0,0 0-1 0 0,0-1 1 0 0,0 1-1 0 0,-1-1 1 0 0,1 1-1 0 0,-3 0 1 0 0,-10 7 1 0 0,12-7 3 0 0,-1-1 2 0 0,-11 6 0 0 0,11-6 6 0 0,0 0-20 0 0,0 1-22 0 0,3-2-11 0 0,0 1-1 0 0,0-1 0 0 0,-1 1 0 0 0,1-1 1 0 0,0 0-1 0 0,-1 0 0 0 0,1 1 1 0 0,0-1-1 0 0,-1 0 0 0 0,1 0 0 0 0,-1 0 1 0 0,1-1-1 0 0,-2 1 0 0 0,0 0-303 0 0,-6 0 643 0 0,-16 4-6621 0 0,21-3 6325 0 0,6-4-1193 0 0,5-12 946 0 0,-6 11-43 0 0,-3 0-973 0 0,-6-10 957 0 0,6 10 22 0 0,-1 0-119 0 0,-10-13 287 0 0,9 13 39 0 0,1 0 30 0 0,1-1 39 0 0,1 4 3 0 0,0-1 1 0 0,0 0 0 0 0,0 0 0 0 0,0 1-1 0 0,0-1 1 0 0,-1 1 0 0 0,1-1 0 0 0,0 1 0 0 0,-1-1-1 0 0,-2-1 1 0 0,-10-10 15 0 0,10 10 98 0 0,0 0-66 0 0,-13-10 0 0 0,13 9 45 0 0,1 1-104 0 0,-12-10-12 0 0,11 10-4 0 0,0 0 56 0 0,-19-12 68 0 0,21 14-88 0 0,0 0 1 0 0,0 1-1 0 0,0-1 0 0 0,0 0 1 0 0,0 1-1 0 0,-1-1 1 0 0,1 1-1 0 0,-4 0 1 0 0,0-1 4 0 0,-4 1 27 0 0,5 0-27 0 0,2 0-3 0 0,0 1-1 0 0,0-1 0 0 0,0 1 1 0 0,1 0-1 0 0,-1-1 0 0 0,-3 2 1 0 0,1 0 9 0 0,2-2-6 0 0,0 1 1 0 0,1 0 0 0 0,-1 0-1 0 0,1 0 1 0 0,-1 0-1 0 0,1 0 1 0 0,-5 3 0 0 0,-14 7 43 0 0,11-4-1 0 0,4-1-36 0 0,-17 16 115 0 0,17-17-99 0 0,2-1 8 0 0,1-1 0 0 0,0 0 0 0 0,0 1 0 0 0,-5 7 0 0 0,-8 12 121 0 0,9-10 43 0 0,3-6-127 0 0,3-4-12 0 0,-1 1 0 0 0,1-1 0 0 0,-1 1 0 0 0,1-1-1 0 0,0 1 1 0 0,-1 7 0 0 0,0-4 38 0 0,1-3-14 0 0,0 0-1 0 0,0 0 0 0 0,1 0 0 0 0,-1 1 0 0 0,1 3 0 0 0,-2 25 522 0 0,1-27-526 0 0,2 15 290 0 0,1-6-220 0 0,-2-12-33 0 0,3 2-34 0 0,7 13-26 0 0,-8-14-14 0 0,3-2-2 0 0,13 3 9 0 0,-10-5 10 0 0,-3 1-46 0 0,-4-1-11 0 0,1 0-1 0 0,0 0 1 0 0,-1 0 0 0 0,1 0-1 0 0,-1-1 1 0 0,1 1 0 0 0,-1 0-1 0 0,1-1 1 0 0,-1 1 0 0 0,1-1 0 0 0,1 0-1 0 0,3-1 15 0 0,-4 2-13 0 0,0 0 0 0 0,0-1-1 0 0,-1 0 1 0 0,1 1 0 0 0,0-1-1 0 0,0 0 1 0 0,0 0-1 0 0,0 0 1 0 0,2-2 0 0 0,14-9 62 0 0,-9 5-7 0 0,-5 3-46 0 0,-2 2-10 0 0,0 1-1 0 0,0-1 1 0 0,0 0-1 0 0,-1 0 1 0 0,1 0-1 0 0,-1 0 1 0 0,0 0 0 0 0,1 0-1 0 0,0-2 1 0 0,2-2 8 0 0,-2 3-5 0 0,0-1 1 0 0,0 1-1 0 0,0-1 0 0 0,0 1 1 0 0,1-5-1 0 0,0 2 2 0 0,0 1 0 0 0,-1 0 0 0 0,0 0 0 0 0,2-9 0 0 0,25-129-60 0 0,-25 126-104 0 0,-4 16 118 0 0,0-1 1 0 0,0 0 0 0 0,1 0 0 0 0,-1 0 0 0 0,0 0 0 0 0,0 1 0 0 0,-1-1-1 0 0,0-4 1 0 0,0-8-153 0 0,0 10-24 0 0,-3 2-1337 0 0,-12-6 1328 0 0,12 6 43 0 0,1 5-92 0 0,-9 12 176 0 0,9-11 51 0 0,1 0 12 0 0,-6 12 18 0 0,6-12-6 0 0,0 1-29 0 0,-6 13-4 0 0,6-13 2 0 0,0-1-19 0 0,-2 14-50 0 0,2-13-69 0 0,1 0-88 0 0,-1 0 145 0 0,1-2-64 0 0,0 0 0 0 0,0 0 0 0 0,1 0 0 0 0,-1 0 0 0 0,1 5 0 0 0,-2 9-396 0 0,1-13-160 0 0,1 0-251 0 0,0 10-159 0 0,0-10 356 0 0</inkml:trace>
</inkml:ink>
</file>

<file path=ppt/ink/ink4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9.74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41 0 8 0 0,'-32'7'0'0'0,"23"-4"0"0"0,1 1 0 0 0,-11 5 0 0 0,9-3 0 0 0,-15 11 0 0 0,-8 12 0 0 0,-3 3 0 0 0,18-11 0 0 0,0-1 0 0 0,1 2 0 0 0,-14 24 0 0 0,-38 75 0 0 0,34-59 0 0 0,-34 66 577 0 0,-56 145 1 0 0,88-194 2405 0 0,37-78-2896 0 0,-1 1-1 0 0,0-1 1 0 0,0 0-1 0 0,1 1 0 0 0,-1-1 1 0 0,1 1-1 0 0,-1-1 1 0 0,1 1-1 0 0,-1-1 1 0 0,1 1-1 0 0,0 2 1 0 0,-1 0 83 0 0,1 0 1396 0 0,4-3-1551 0 0,12 4-15 0 0,-12-4-20 0 0,0-4-140 0 0,9-12 8 0 0,-10 11-75 0 0,-1 0-65 0 0,6-12-71 0 0,-6 12-53 0 0,0 0-45 0 0,5-11-34 0 0,-6 11-19 0 0,0 0 16 0 0,4-14 47 0 0,-3 13 76 0 0,-1 0 87 0 0,1-1 214 0 0,-1 3 28 0 0,0 0 1 0 0,0-1-1 0 0,-1 1 0 0 0,1 0 1 0 0,-1-7-1 0 0,1 4 13 0 0,0-18-54 0 0,-1-13 84 0 0,1 25 5 0 0,-1-3 42 0 0,0 0-1 0 0,-1 0 1 0 0,-5-28-1 0 0,4 35-27 0 0,2 2-6 0 0,-2 1 0 0 0,1-1 1 0 0,-1 1-1 0 0,-2-7 0 0 0,-38-115 253 0 0,31 103-227 0 0,0 2 51 0 0,-4-10 221 0 0,1 4 193 0 0,8 13-202 0 0,4 12 6 0 0,1-2 3 0 0,-4-13-14 0 0,4 13 1210 0 0,21-3-1171 0 0,-16 7-154 0 0,0 4 10 0 0,21 20 189 0 0,-2 0 13 0 0,5 5 14 0 0,-21-21-339 0 0,22 21 260 0 0,86 85 456 0 0,-111-109-759 0 0,-1-1 1 0 0,1 0 0 0 0,-1 1 0 0 0,4 4 0 0 0,-4-4-3 0 0,1 1 1 0 0,0-1-1 0 0,7 6 1 0 0,9 8 35 0 0,-15-13 5 0 0,-1-1-2 0 0,14 12 10 0 0,-13-12 160 0 0</inkml:trace>
</inkml:ink>
</file>

<file path=ppt/ink/ink4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20.12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82 11 8 0 0,'-4'-2'261'0'0,"-14"-6"557"0"0,14 10-521 0 0,-10 8-45 0 0,10-7-32 0 0,-1 1-41 0 0,-22 21 108 0 0,0 2-58 0 0,-1 4 46 0 0,-58 69 757 0 0,69-75-716 0 0,2-3 508 0 0,-35 38 1 0 0,44-52-647 0 0,0-2 131 0 0,1 1-1 0 0,-11 7 1 0 0,-11 11 1128 0 0,4-2-154 0 0,24-24-1289 0 0,0 0 0 0 0,-1 1 0 0 0,1-1 0 0 0,0 0 0 0 0,-1 0 0 0 0,1 1 0 0 0,-1-1 0 0 0,1 0 0 0 0,-1 0 0 0 0,0 0 0 0 0,1 0 0 0 0,-1 1 0 0 0,0-1 0 0 0,1-2 0 0 0,-1 2-14 0 0,0 0-1 0 0,0 0 1 0 0,1 0-1 0 0,-1 1 0 0 0,0-1 1 0 0,1 0-1 0 0,-1 0 1 0 0,0 0-1 0 0,1 0 1 0 0,-1 1-1 0 0,1-1 0 0 0,0 0 1 0 0,-1 0-1 0 0,2 0 1 0 0,2-2-344 0 0,0-1 186 0 0,-2 2-45 0 0,-1 0 1 0 0,1 1 0 0 0,0-1-1 0 0,1 1 1 0 0,-1-1 0 0 0,0 1-1 0 0,3-1 1 0 0,0-1-95 0 0,-3 1 72 0 0,0 1-1 0 0,0-1 1 0 0,0 1 0 0 0,0 0 0 0 0,1 0-1 0 0,-1 0 1 0 0,4-1 0 0 0,17-5-3094 0 0,-2 0 2232 0 0,8-5 912 0 0</inkml:trace>
</inkml:ink>
</file>

<file path=ppt/ink/ink4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21.82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5 0 8 0 0,'-27'6'0'0'0,"2"6"0"0"0,-2 6 0 0 0,4 1 31 0 0,19-15 127 0 0,1 0 64 0 0,-11 11 55 0 0,11-12 45 0 0,1 1 19 0 0,-6 13 28 0 0,6-13 7 0 0,0 0-9 0 0,-6 13-37 0 0,5-13-8 0 0,2 1 14 0 0,-8 25 395 0 0,3-7-87 0 0,-1-1-114 0 0,0 0-30 0 0,-1 3-59 0 0,-2 0-91 0 0,7-19-307 0 0,-8 15 112 0 0,-7 10-71 0 0,7-13-60 0 0,-72 108 109 0 0,41-60 111 0 0,-39 81 0 0 0,64-107 93 0 0,9-22 1529 0 0,10-22-1849 0 0,8-14-5 0 0,-8 13-12 0 0,1 2 11 0 0,-1-2-8 0 0,7-13 18 0 0,-2 2-23 0 0,-5 12-14 0 0,-1 2-38 0 0,0 1 51 0 0,0 0 1 0 0,-1 0-1 0 0,1 0 1 0 0,0-1-1 0 0,0 1 1 0 0,-1 0-1 0 0,1-1 1 0 0,-1 1-1 0 0,1-3 1 0 0,1 0-3 0 0,0 0-5 0 0,-5 8-1085 0 0,-1-1 1119 0 0,3-1-2 0 0,-1-1 0 0 0,1 1 0 0 0,0 0 0 0 0,-1-1 0 0 0,1 1 0 0 0,0 0 0 0 0,0 0 0 0 0,-1 3 1 0 0,-7 12 11 0 0,7-13 561 0 0,-1-3-902 0 0,-12 6 321 0 0,11-5 8 0 0,1 0-175 0 0,-12 10 154 0 0,11-9-6 0 0,2 1-8 0 0,-4 12 18 0 0,4-12 0 0 0,1 1-7 0 0,-6 11 8 0 0,5-12 34 0 0,1-3-35 0 0,0 1-1 0 0,-1-1 0 0 0,1 1 0 0 0,0 0 1 0 0,0-1-1 0 0,-2 4 0 0 0,1 0 2 0 0,0-2 50 0 0,1 1-85 0 0,0 11 37 0 0,0-12 100 0 0,7-17-5874 0 0</inkml:trace>
</inkml:ink>
</file>

<file path=ppt/ink/ink4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29.54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53 12 3185 0 0,'0'0'12072'0'0,"-4"-2"-11658"0"0,-10-6-63 0 0,10 6-38 0 0,0 3-24 0 0,-20 7 427 0 0,18-7-656 0 0,3-1-20 0 0,0 0 0 0 0,0 1 0 0 0,0 0-1 0 0,0 0 1 0 0,0 0 0 0 0,-3 2-1 0 0,-20 6 207 0 0,-1 2-57 0 0,-3 1-27 0 0,-2 0-14 0 0,25-10-124 0 0,4-1-7 0 0,-1 1 1 0 0,0-1-1 0 0,1 1 1 0 0,-1-1-1 0 0,-3 3 1 0 0,-26 15 42 0 0,-56 31-23 0 0,-126 98-1 0 0,151-98-24 0 0,-71 60-10 0 0,119-93-13 0 0,1 0 1 0 0,-15 20 0 0 0,26-30 7 0 0,0 1-1 0 0,0-1 1 0 0,1 0-1 0 0,0 1 1 0 0,1 0-1 0 0,-1 0 1 0 0,2-1-1 0 0,-1 1 1 0 0,0 9-1 0 0,3-6-14 0 0,4 15 4 0 0,-5-25 12 0 0,0 0 1 0 0,0 0-1 0 0,0 0 0 0 0,1 0 0 0 0,-1 0 0 0 0,0 0 0 0 0,1 0 0 0 0,-1 0 0 0 0,1 0 0 0 0,-1-1 1 0 0,2 3-1 0 0,14 21-25 0 0,-15-22 26 0 0,0-1 1 0 0,0 1-1 0 0,0-1 1 0 0,1 0-1 0 0,-1 0 1 0 0,0 1-1 0 0,3 1 1 0 0,90 67 117 0 0,154 71-107 0 0,-208-123-194 0 0,0 0 1 0 0,1-3-1 0 0,0-2 1 0 0,66 13-1 0 0,-62-19-2284 0 0,90 3 1 0 0,-100-11-2670 0 0,50-7 1 0 0,-52 3 2595 0 0</inkml:trace>
</inkml:ink>
</file>

<file path=ppt/ink/ink4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30.07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78 1 744 0 0,'-6'2'1508'0'0,"-4"1"-987"0"0,3-1-176 0 0,0 1 1 0 0,1-1-1 0 0,-1 1 0 0 0,1 0 1 0 0,-10 7-1 0 0,-21 15 833 0 0,5-3-270 0 0,0 0-200 0 0,25-19-609 0 0,4-1-41 0 0,0 0 0 0 0,0-1 0 0 0,0 1-1 0 0,0 0 1 0 0,0 1 0 0 0,0-1 0 0 0,-3 4-1 0 0,-13 12 170 0 0,10-8-35 0 0,4-4-130 0 0,2-3-16 0 0,1 0 1 0 0,0 0 0 0 0,0 0-1 0 0,0 1 1 0 0,-3 6 0 0 0,-7 13 138 0 0,8-11 52 0 0,1-5-140 0 0,2-4-30 0 0,0-1 0 0 0,0 1 0 0 0,0 0 0 0 0,0 0 0 0 0,1 0 0 0 0,-1-1 0 0 0,1 1 0 0 0,0 6 0 0 0,-1-2 77 0 0,0-4-43 0 0,0 0 0 0 0,1 1 0 0 0,0-1 0 0 0,0 0 0 0 0,0 1 1 0 0,0-1-1 0 0,2 6 0 0 0,1 19 447 0 0,0-14-3 0 0,0-4-317 0 0,-1-4-56 0 0,0 0 1 0 0,0 0 0 0 0,0 0-1 0 0,1 0 1 0 0,0 0 0 0 0,7 9 0 0 0,8 12 209 0 0,-8-15-36 0 0,13 11-28 0 0,-22-22-278 0 0,1 1-1 0 0,-1-1 1 0 0,0 0-1 0 0,1 0 1 0 0,-1 0 0 0 0,0 0-1 0 0,3 1 1 0 0,7 4 106 0 0,1 0 0 0 0,-1-1 0 0 0,1-1 0 0 0,0 0 1 0 0,0 0-1 0 0,0-1 0 0 0,17 2 0 0 0,2-5 160 0 0,57-7-1 0 0,-78 5-261 0 0,1 0 0 0 0,-1 0 0 0 0,0-1 1 0 0,0-1-1 0 0,19-8 0 0 0,-14 3 60 0 0,1 0 1 0 0,19-16 0 0 0,-25 15-41 0 0,-1 2-48 0 0,21-26 45 0 0,-17 19-32 0 0,-1-1 0 0 0,-1 0 0 0 0,0-1 0 0 0,12-25 0 0 0,-19 31-26 0 0,-1 3-6 0 0,0 0 0 0 0,0 0 0 0 0,-1 0 0 0 0,0 0 0 0 0,0-1 0 0 0,0-9 0 0 0,-1-7-47 0 0,0 25 46 0 0,-1-1-1 0 0,0 0 1 0 0,0 0 0 0 0,0 1-1 0 0,0-1 1 0 0,0 0-1 0 0,0 1 1 0 0,-1-1-1 0 0,1 0 1 0 0,0 1-1 0 0,0-1 1 0 0,0 0-1 0 0,-1-1 1 0 0,-7-17-64 0 0,7 18 62 0 0,1 0 1 0 0,0 1-1 0 0,0-1 1 0 0,-1 1 0 0 0,1-1-1 0 0,0 0 1 0 0,-1 1-1 0 0,1-1 1 0 0,-1 1-1 0 0,1-1 1 0 0,0 1 0 0 0,-1-1-1 0 0,0 0 1 0 0,-14-12-43 0 0,14 13 44 0 0,1-1 1 0 0,-1 1-1 0 0,1-1 1 0 0,-1 1-1 0 0,0-1 1 0 0,0 1 0 0 0,1-1-1 0 0,-1 1 1 0 0,0 0-1 0 0,0-1 1 0 0,-1 1-1 0 0,-15-5-21 0 0,0 0-1 0 0,-27-3 0 0 0,-6 5 19 0 0,-1 1 0 0 0,0 3 0 0 0,-70 10 0 0 0,113-10-2 0 0,5-1 1 0 0,0 0 1 0 0,1 0-1 0 0,-1 1 1 0 0,0-1 0 0 0,1 1-1 0 0,-4 1 1 0 0,-1-1-6 0 0,3 0-7 0 0,1-1 1 0 0,-1 1-1 0 0,1 1 0 0 0,-1-1 1 0 0,-4 3-1 0 0,-7 2-185 0 0,12-4-197 0 0</inkml:trace>
</inkml:ink>
</file>

<file path=ppt/ink/ink4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37.32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9 20 8 0 0,'-26'6'0'0'0,"2"0"0"0"0,18-5 405 0 0,4 0-221 0 0,1-1 0 0 0,-1 1 0 0 0,0-1 0 0 0,1 0 1 0 0,-1 1-1 0 0,0-1 0 0 0,1 0 0 0 0,-1 0 0 0 0,0 0 1 0 0,1-1-1 0 0,-1 1 0 0 0,-2-1 0 0 0,-1 0 97 0 0,-3-1-14 0 0,0 1 2911 0 0,5-3-2768 0 0,-11-14 1682 0 0,18 17-1974 0 0,12-4-5 0 0,-11 3 108 0 0,-1 5-125 0 0,16 9-17 0 0,-15-9-19 0 0,0 1-9 0 0,27 20 2 0 0,-28-20-45 0 0,-2-2-6 0 0,0-1 1 0 0,0 1 0 0 0,0 0 0 0 0,0-1 0 0 0,0 0 0 0 0,1 1 0 0 0,-1-1 0 0 0,5 2-1 0 0,26 12 45 0 0,4 0 60 0 0,44 12 0 0 0,-56-20 14 0 0,0-1 0 0 0,1-2 0 0 0,29 2 0 0 0,-46-5-70 0 0,23 1 126 0 0,42-4 0 0 0,-71 2-171 0 0,-1 0 1 0 0,1-1-1 0 0,-1 1 0 0 0,1 0 1 0 0,-1 0-1 0 0,5 1 0 0 0,-5 0-7 0 0,1-1-1 0 0,-1 0 1 0 0,1 0-1 0 0,-1 0 1 0 0,1 0-1 0 0,-1-1 1 0 0,5 0-1 0 0,24-4-37 0 0,10-3 65 0 0,-37 7-22 0 0,0-1-15 0 0,11-4-30 0 0,-12 4-43 0 0,1 0-562 0 0,11-6 274 0 0,-12 6-81 0 0</inkml:trace>
</inkml:ink>
</file>

<file path=ppt/ink/ink4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37.65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2 23 8 0 0,'-15'-23'2593'0'0,"11"28"-2121"0"0,-11 13-16 0 0,15-18-428 0 0,0 1-1 0 0,-1-1 1 0 0,1 1 0 0 0,-1-1 0 0 0,1 1 0 0 0,0-1 0 0 0,-1 1-1 0 0,1-1 1 0 0,0 1 0 0 0,0-1 0 0 0,0 1 0 0 0,-1-1 0 0 0,1 1-1 0 0,0 1 1 0 0,-5 24 667 0 0,0 13-104 0 0,-13 239 1826 0 0,15 10-1875 0 0,-2-129-485 0 0,4-131-53 0 0,0-18 0 0 0,1-6 0 0 0,-1-1 0 0 0,1 1 0 0 0,0-1 0 0 0,0 1 0 0 0,1 5 0 0 0,0 9 8 0 0,0-13 10 0 0,-1-2 0 0 0,2 16-1863 0 0,-5-23 1006 0 0,-10-13-260 0 0,10 13-263 0 0,3 0-213 0 0,2-16-57 0 0</inkml:trace>
</inkml:ink>
</file>

<file path=ppt/ink/ink4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40.36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29 1 8 0 0,'-20'0'39'0'0,"20"0"-31"0"0,-1 0 0 0 0,1 0 0 0 0,0 0-1 0 0,-1 0 1 0 0,1 0 0 0 0,0 0 0 0 0,-1 0 0 0 0,1 0 0 0 0,0 0 0 0 0,-1 0 0 0 0,1 0 0 0 0,0 0 0 0 0,-1 0 0 0 0,1 1 0 0 0,0-1 0 0 0,-1 0 0 0 0,1 0 0 0 0,0 0 0 0 0,0 0 0 0 0,-1 1 0 0 0,1-1 0 0 0,0 0 0 0 0,0 0-1 0 0,0 1 1 0 0,-1-1 0 0 0,-14 15 294 0 0,12-11 23 0 0,0 1 2 0 0,-11 24 238 0 0,11-23-498 0 0,1-4-36 0 0,1 1 0 0 0,0 0 0 0 0,0 0 0 0 0,0-1-1 0 0,0 1 1 0 0,0 0 0 0 0,0 4 0 0 0,-2 5 3 0 0,-25 117 487 0 0,9 87 234 0 0,17 0-542 0 0,1-52-211 0 0,9 370 221 0 0,1-379 716 0 0,-8-136-427 0 0,-1-10-4190 0 0,-3-14 2402 0 0,-12-20 953 0 0</inkml:trace>
</inkml:ink>
</file>

<file path=ppt/ink/ink4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40.70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20 8 0 0,'0'0'2926'0'0,"5"-4"-2074"0"0,15-9-53 0 0,-20 13-766 0 0,0 0 0 0 0,1-1 0 0 0,-1 1 0 0 0,0 0 0 0 0,0 0 0 0 0,1-1 0 0 0,-1 1 0 0 0,1 0 0 0 0,-1 0 0 0 0,0 0 0 0 0,1 0 0 0 0,-1-1 0 0 0,0 1 0 0 0,1 0 0 0 0,-1 0 0 0 0,1 0 0 0 0,-1 0 0 0 0,0 0 0 0 0,1 0 0 0 0,-1 0-1 0 0,1 0 1 0 0,4 0 201 0 0,14 4 919 0 0,14 3 60 0 0,65 13 418 0 0,-67-12-984 0 0,-23-6-557 0 0,25 9 274 0 0,7 3-185 0 0,-2-2-136 0 0,-31-11-49 0 0,20 8-70 0 0,6 3-309 0 0,-2-2-478 0 0,-25-8 668 0 0,16 6-936 0 0,-7-2 314 0 0,-11-4-123 0 0,0 0-189 0 0,0 1 620 0 0,4 3 51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6.86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02 17 8 0 0,'21'-8'0'0'0,"0"2"8687"0"0,-36 4-7776 0 0,14 1-896 0 0,1 1 0 0 0,0 0 0 0 0,-1 0-1 0 0,1 0 1 0 0,0 0 0 0 0,-1 0 0 0 0,1 0 0 0 0,0 0 0 0 0,-1 0 0 0 0,1 0-1 0 0,0 1 1 0 0,-1-1 0 0 0,1 0 0 0 0,0 0 0 0 0,0 0 0 0 0,-1 0 0 0 0,1 0-1 0 0,0 0 1 0 0,-1 1 0 0 0,1-1 0 0 0,0 0 0 0 0,-38 24 225 0 0,1 2 1 0 0,-38 36-1 0 0,-62 67 3770 0 0,126-116-3055 0 0,10-11-388 0 0,2 9-241 0 0,-1-9-213 0 0,3-1-21 0 0,51 9 71 0 0,14 4-116 0 0,-59-12-52 0 0,1 1 1 0 0,-1 0 0 0 0,0 1-1 0 0,16 9 1 0 0,-11-2-7 0 0,-9-6 13 0 0,-3-4 1 0 0,0 1 1 0 0,0 0-1 0 0,0-1 1 0 0,-1 1 0 0 0,1 0-1 0 0,0 0 1 0 0,-1 1-1 0 0,1-1 1 0 0,-1 0 0 0 0,0 0-1 0 0,0 1 1 0 0,2 4-1 0 0,1 9 43 0 0,-3-15-41 0 0,-1 0 0 0 0,1 0 1 0 0,-1 0-1 0 0,0 0 1 0 0,0 1-1 0 0,0-1 0 0 0,1 0 1 0 0,-1 0-1 0 0,0 1 0 0 0,-1-1 1 0 0,1 0-1 0 0,0 0 1 0 0,0 0-1 0 0,-1 3 0 0 0,0 0 11 0 0,0 3 6 0 0,-1-1-1 0 0,1 0 1 0 0,-1 0 0 0 0,0 0 0 0 0,-1 0 0 0 0,1 0 0 0 0,-1 0 0 0 0,-1 0 0 0 0,1-1 0 0 0,-6 7 0 0 0,2-3 31 0 0,-1 0 1 0 0,0-1 0 0 0,-1 0-1 0 0,-14 11 1 0 0,13-13-36 0 0,0-1 1 0 0,0 0-1 0 0,0 0 0 0 0,-1-2 1 0 0,1 1-1 0 0,-19 3 0 0 0,21-5-38 0 0,7-2 14 0 0,-1 1 0 0 0,1-1 1 0 0,0 1-1 0 0,0-1 0 0 0,-1 0 0 0 0,1 0 0 0 0,0 0 1 0 0,-1 0-1 0 0,1 0 0 0 0,0 0 0 0 0,-2 0 0 0 0,-8-1-165 0 0,-15-5-848 0 0,23 5 345 0 0,1-1-258 0 0,-7-8-328 0 0,7 6-374 0 0,2 2 1101 0 0,-1 0 11 0 0,1 1-1 0 0,0-1 0 0 0,1 0 0 0 0,-1 0 1 0 0,0 1-1 0 0,0-1 0 0 0,1 1 0 0 0,-1-1 1 0 0,1 0-1 0 0,-1 1 0 0 0,1-1 1 0 0,0 1-1 0 0,0-1 0 0 0,-1 1 0 0 0,1-1 1 0 0,0 1-1 0 0,2-2 0 0 0,12-13-1468 0 0</inkml:trace>
</inkml:ink>
</file>

<file path=ppt/ink/ink5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41.11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6 89 8 0 0,'-4'-24'0'0'0,"3"1"0"0"0,0 21 0 0 0,1 0 0 0 0,0 0 0 0 0,-1 0 0 0 0,1 1 0 0 0,-1-1 0 0 0,1 0 0 0 0,-1 0 0 0 0,0 0 0 0 0,-2-3 0 0 0,1 2 2 0 0,-1 0 1 0 0,0 0-1 0 0,-6-5 0 0 0,9 8 0 0 0,0 0-1 0 0,0 0 1 0 0,0 0 0 0 0,-1 0-1 0 0,1-1 1 0 0,0 1-1 0 0,0 0 1 0 0,0 0 0 0 0,0 0-1 0 0,-1 0 1 0 0,1 0-1 0 0,0 0 1 0 0,0-1-1 0 0,0 1 1 0 0,0 0 0 0 0,-1 0-1 0 0,1 0 1 0 0,0 0-1 0 0,0 0 1 0 0,0 0-1 0 0,-1 0 1 0 0,1 0 0 0 0,0 0-1 0 0,0 0 1 0 0,0 0-1 0 0,-1 0 1 0 0,1 0-1 0 0,0 0 1 0 0,0 0 0 0 0,0 0-1 0 0,-1 0 1 0 0,1 0-1 0 0,0 0 1 0 0,0 0 0 0 0,0 0-1 0 0,-1 1 1 0 0,1-1-1 0 0,0 0 1 0 0,0 0-1 0 0,0 0 1 0 0,0 0 0 0 0,0 0-1 0 0,-1 1 1 0 0,-14 9 170 0 0,12-8 32 0 0,0 2 8 0 0,0 0-133 0 0,2-3-39 0 0,0 1 0 0 0,0-1 0 0 0,0 1-1 0 0,0-1 1 0 0,0 1 0 0 0,0 0 0 0 0,0-1 0 0 0,0 1 0 0 0,1 0-1 0 0,-1 3 1 0 0,-1-1 47 0 0,1-2-37 0 0,0 0 0 0 0,0 0 0 0 0,1 0-1 0 0,-1 0 1 0 0,1 0 0 0 0,0 0 0 0 0,-1 0-1 0 0,1 2 1 0 0,0 1 39 0 0,0-3-37 0 0,0 0 0 0 0,0 0 0 0 0,0 0 0 0 0,0 0 0 0 0,-1 0 0 0 0,1 0 0 0 0,-1-1 0 0 0,0 4 0 0 0,-4 11 259 0 0,4-11 20 0 0,0-1 28 0 0,-3 19 2071 0 0,6-27-2465 0 0,8-11 11 0 0,-8 11-8 0 0,0 1-12 0 0,5-12-25 0 0,-6 11-22 0 0,0 0-23 0 0,2-12 6 0 0,-2 12 23 0 0,-1 0-82 0 0,0-15-189 0 0,-3 22 343 0 0,-12 7 9 0 0,11-8 15 0 0,2 2 2 0 0,-4 11 20 0 0,4-12 26 0 0,-1 12 60 0 0,2-11-93 0 0,0 0 61 0 0,1 0 0 0 0,-3 23 75 0 0,2-9-160 0 0,0-13 3 0 0,2-1 2 0 0,0 12-15 0 0,0-12-58 0 0,0 0-396 0 0,2 11-22 0 0,-2-11-219 0 0</inkml:trace>
</inkml:ink>
</file>

<file path=ppt/ink/ink5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55.58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86 56 8 0 0,'-3'-23'4332'0'0,"1"20"-3827"0"0,-1-1-230 0 0,-7-11 5166 0 0,7 14-5414 0 0,-1-1-14 0 0,2 1 2 0 0,1 1 1 0 0,-1-1-1 0 0,1 1 1 0 0,-1-1-1 0 0,1 1 1 0 0,-1-1-1 0 0,1 1 1 0 0,-1 0-1 0 0,-3-1 1 0 0,1 0-5 0 0,3 1-3 0 0,-1 0 0 0 0,1-1-1 0 0,0 1 1 0 0,-1 0-1 0 0,1 0 1 0 0,-1 0-1 0 0,1 0 1 0 0,0 0-1 0 0,-1 0 1 0 0,1 0-1 0 0,0 0 1 0 0,-1 0-1 0 0,-1 1 1 0 0,-1 0 2 0 0,2-1-1 0 0,0 0 0 0 0,0 0-1 0 0,0 1 1 0 0,0-1 0 0 0,0 1 0 0 0,0-1 0 0 0,0 1 0 0 0,-2 1-1 0 0,-13 5 24 0 0,13-6-1 0 0,0 1-4 0 0,-14 6 1 0 0,13-5-8 0 0,0-1 1 0 0,-17 10-5 0 0,19-11-14 0 0,0 1 0 0 0,0-1 0 0 0,0 1 0 0 0,1 0 0 0 0,-1 0 0 0 0,-4 4 0 0 0,-10 9 9 0 0,12-12-8 0 0,2-1-1 0 0,1-1-1 0 0,0 1 1 0 0,-1 0 0 0 0,1 0 0 0 0,0 0-1 0 0,-4 5 1 0 0,-14 15-1 0 0,-9 7 7 0 0,4-1 15 0 0,1 1-7 0 0,3-3-13 0 0,-3 6 5 0 0,1 1 2 0 0,15-23-9 0 0,6-8-3 0 0,0 1 1 0 0,0-1-1 0 0,0 1 1 0 0,0 0 0 0 0,0 0-1 0 0,1-1 1 0 0,-2 6 0 0 0,-9 18 2 0 0,-3 4 10 0 0,11-21-9 0 0,-6 19 4 0 0,7-22-6 0 0,2-3 2 0 0,0 0 0 0 0,0 0 0 0 0,0 0 0 0 0,0 0 0 0 0,1 0 0 0 0,-1 6 0 0 0,-4 25 18 0 0,2 1 40 0 0,2-29-41 0 0,0-2-4 0 0,0-1 0 0 0,1 1 0 0 0,-1-1 0 0 0,1 1 1 0 0,0 6-1 0 0,1 20 30 0 0,1-16-45 0 0,0 0-1 0 0,0 0 0 0 0,2 0 1 0 0,0-1-1 0 0,0 1 1 0 0,1-1-1 0 0,1 0 0 0 0,0 0 1 0 0,12 19-1 0 0,-3-11 26 0 0,0-1 0 0 0,1-1 0 0 0,2 0 0 0 0,24 22 0 0 0,-32-33-11 0 0,0 0 1 0 0,0-1 0 0 0,1 0-1 0 0,0-1 1 0 0,0 0-1 0 0,1-1 1 0 0,-1 0 0 0 0,1-1-1 0 0,0 0 1 0 0,14 2-1 0 0,-10-3-1 0 0,1-1 0 0 0,0 0-1 0 0,-1-1 1 0 0,1-2 0 0 0,0 1 0 0 0,30-7-1 0 0,-31 3-953 0 0,-1-2-1 0 0,0 0 1 0 0,0-1-1 0 0,27-16 1 0 0,-31 14-2307 0 0,14-14-662 0 0</inkml:trace>
</inkml:ink>
</file>

<file path=ppt/ink/ink5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56.59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0 368 8 0 0,'-22'10'1819'0'0,"21"-15"-1116"0"0,-5-15 2718 0 0,8 16-2961 0 0,8-14 4807 0 0,-6 16-5168 0 0,11-4-11 0 0,-12 4 138 0 0,1-2-154 0 0,9-11 0 0 0,-10 12 0 0 0,1-1-10 0 0,11-13-36 0 0,-12 13-10 0 0,2-1 2 0 0,24-23 116 0 0,-7 5 74 0 0,0-1-48 0 0,-17 18-142 0 0,16-13 66 0 0,8-5-12 0 0,-24 19-63 0 0,-2 2-2 0 0,0 0-1 0 0,0 1 1 0 0,1-1-1 0 0,5-3 1 0 0,18-11 23 0 0,-3 0-14 0 0,1 3-6 0 0,-11 6-1 0 0,-5 3 3 0 0,11-7-8 0 0,32-22 12 0 0,-48 31-8 0 0,0 1 6 0 0,0 0 0 0 0,-3 2 14 0 0,1-1 0 0 0,-1 1 0 0 0,1-1 0 0 0,-1 0 1 0 0,0 1-1 0 0,0-1 0 0 0,1 0 0 0 0,-1 0 0 0 0,2-1 1 0 0,-6 5-21 0 0,-6 16-7 0 0,2 3-2 0 0,4-4-6 0 0,2-10-1 0 0,-4 26 1 0 0,4-29 7 0 0,0-1 7 0 0,-1 1 0 0 0,-5 21-6 0 0,0 7-9 0 0,0-3-15 0 0,-1-1 7 0 0,1 1 8 0 0,-1 1 0 0 0,1-6 15 0 0,-1 14 0 0 0,7-36-11 0 0,1-1 4 0 0,1 0 1 0 0,-1 0 0 0 0,0 0 0 0 0,-1 0 0 0 0,1 0 0 0 0,0 0 0 0 0,-1 0 0 0 0,0 3 1 0 0,-3 8 1 0 0,-1 5-3 0 0,4-13-4 0 0,0-1 9 0 0,0-1-4 0 0,0 1 0 0 0,0-1 1 0 0,0 0-1 0 0,-1 1 0 0 0,1-1 1 0 0,-4 6-1 0 0,-3 25-11 0 0,8-34 10 0 0,-2 8-6 0 0,-4 11 5 0 0,1 7 1 0 0,0-3 1 0 0,2 1 5 0 0,-1-1-4 0 0,3 3 12 0 0,1-10-12 0 0,0-12 393 0 0,3-7-399 0 0,9-12-4 0 0,-10 11 0 0 0</inkml:trace>
</inkml:ink>
</file>

<file path=ppt/ink/ink5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03.00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79 15 8 0 0,'-3'-3'425'0'0,"-16"-9"6508"0"0,16 14-6545 0 0,-12 6-54 0 0,11-6 627 0 0,2 2-756 0 0,-6 11 15 0 0,6-12 235 0 0,-3 22 628 0 0,3-21-854 0 0,-6 14 3102 0 0,9-11-3317 0 0,-1 0-1 0 0,2 0 0 0 0,-1 0 1 0 0,3 6-1 0 0,-3-11-16 0 0,-1-1 5 0 0,1 1-1 0 0,-1-1 1 0 0,1 1-1 0 0,-1 0 0 0 0,0-1 1 0 0,1 1-1 0 0,-1-1 1 0 0,0 1-1 0 0,0-1 0 0 0,0 3 1 0 0,-1-2-2 0 0,1 0 1 0 0,0 0-1 0 0,0 0 0 0 0,0 0 1 0 0,1 0-1 0 0,-1 0 1 0 0,1 3-1 0 0,4 21-20 0 0,3 7 0 0 0,27 113 12 0 0,-20-77-11 0 0,1-3 3 0 0,30 82-1 0 0,-37-122 9 0 0,8 40 0 0 0,-13-41 9 0 0,0 5-6 0 0,-1 1 0 0 0,-2-1-1 0 0,-3 31 1 0 0,-5-2-45 0 0,-3-1-1 0 0,-3-1 1 0 0,-22 65-1 0 0,-77 162-288 0 0,-97 202-574 0 0,199-462 895 0 0,-69 158-63 0 0,56-136 92 0 0,-49 76-1 0 0,36-74 31 0 0,17-19-12 0 0,7-13-18 0 0,9-12 5 0 0,0 1 7 0 0,-10 11 1 0 0,10-12 224 0 0,-1-2-192 0 0,-11 4-3 0 0,11-4 51 0 0,4-6-146 0 0,0-17-1483 0 0,2 18 1158 0 0,5-12-50 0 0,-6 11-58 0 0</inkml:trace>
</inkml:ink>
</file>

<file path=ppt/ink/ink5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1.85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68 1 8 0 0,'-22'12'0'0'0,"0"8"0"0"0,4 3 0 0 0,-2 4 0 0 0,-1 2 21 0 0,15-20 15 0 0,-6 11 671 0 0,-3 7 477 0 0,0 3-238 0 0,-2 0-83 0 0,13-24-718 0 0,1-2 9 0 0,1 0-1 0 0,0 0 0 0 0,0 0 1 0 0,-2 7-1 0 0,-12 27 810 0 0,-30 83 448 0 0,-112 446-158 0 0,103-256-1011 0 0,50-256-97 0 0,3-1 0 0 0,2 1-1 0 0,12 98 1 0 0,-7-123-31 0 0,2 0 1 0 0,1 0 0 0 0,21 50 0 0 0,-11-41-47 0 0,2 0 0 0 0,26 38-1 0 0,22 17-37 0 0,87 93-1 0 0,-96-118-9 0 0,-30-35-10 0 0,243 271-857 0 0,-152-187-1525 0 0,7 6-1956 0 0,-11 9 2007 0 0,-92-101 2321 0 0</inkml:trace>
</inkml:ink>
</file>

<file path=ppt/ink/ink5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2.31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4 1060 8 0 0,'-8'5'36'0'0,"5"-3"106"0"0,0 0 0 0 0,1 0 0 0 0,-1 1 0 0 0,1-1 0 0 0,-1 0 0 0 0,-2 4 0 0 0,1-1 106 0 0,-8 8 471 0 0,1 0 0 0 0,-11 17-1 0 0,7-9-183 0 0,12-16-14 0 0,-1-1 14 0 0,-15 17 2191 0 0,17-26-2495 0 0,-8-17-27 0 0,10 22-194 0 0,-1-1 0 0 0,1 1 0 0 0,0-1 1 0 0,0 1-1 0 0,0-1 0 0 0,-1 0 0 0 0,1 1 0 0 0,0-1 1 0 0,0 1-1 0 0,0-1 0 0 0,0 0 0 0 0,0 1 0 0 0,0-1 1 0 0,0 1-1 0 0,0-1 0 0 0,0 0 0 0 0,0 1 0 0 0,0-1 1 0 0,1 0-1 0 0,12-60 552 0 0,2 0 0 0 0,42-104 1 0 0,88-139-8 0 0,133-155-243 0 0,-260 432-303 0 0,-12 18-9 0 0,0 2-1 0 0,-1-1-1 0 0,9-7 0 0 0,3-3-2 0 0,-13 13-11 0 0,-1 2-13 0 0,12-8-20 0 0,-11 8 5 0 0,-3 7-14 0 0,6 15 37 0 0,-5-10 11 0 0,-7 80 10 0 0,-16 87 0 0 0,17-150 13 0 0,-55 363 40 0 0,2 38-174 0 0,15-231 171 0 0,40-191 13 0 0,3-10-1052 0 0,-1 0 771 0 0,0 1-39 0 0,1 1 0 0 0,-1 0 0 0 0,1 0 0 0 0,0-1 0 0 0,2-4 0 0 0,-2 2-208 0 0,8-20-2788 0 0,1 3 662 0 0,-7 17 848 0 0</inkml:trace>
</inkml:ink>
</file>

<file path=ppt/ink/ink5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2.68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05 81 2945 0 0,'-5'3'848'0'0,"-25"12"597"0"0,1 1-676 0 0,5-4-145 0 0,-1-2 99 0 0,22-8-604 0 0,2-2-75 0 0,0 1 0 0 0,0-1-1 0 0,0 1 1 0 0,-1-1 0 0 0,1 1 0 0 0,0-1 0 0 0,0 1 0 0 0,0-1 0 0 0,-1 0 0 0 0,1 0-1 0 0,0 0 1 0 0,0 0 0 0 0,-3 0 0 0 0,-11 0 260 0 0,12 0-60 0 0,-2 0-42 0 0,-13-2-29 0 0,14 2 183 0 0,0-3-145 0 0,0 1-106 0 0,3 1 12 0 0,0 0 1 0 0,0 0-1 0 0,-1 0 0 0 0,1 1 0 0 0,0-1 0 0 0,-1 0 1 0 0,1 1-1 0 0,-1-1 0 0 0,-1 0 0 0 0,3-3 5 0 0,-2-12-13 0 0,2 12 139 0 0,4 2-100 0 0,13-7 31 0 0,-13 7 17 0 0,1 1 24 0 0,27-3 249 0 0,-27 2-391 0 0,21-1 286 0 0,61 3 255 0 0,73 10 136 0 0,10 1-458 0 0,156-2 54 0 0,-316-9-350 0 0,25 2-141 0 0,-17-2-1790 0 0,-16-4 1286 0 0,3-12-152 0 0,-4 12-150 0 0,-4-1-189 0 0,-12-24-1953 0 0,12 24 2411 0 0,1 2 12 0 0,0 0 0 0 0,1 0 0 0 0,-1 0 0 0 0,1 0 0 0 0,-2-5 0 0 0,-7-19-991 0 0</inkml:trace>
</inkml:ink>
</file>

<file path=ppt/ink/ink5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3.13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4 1 8 0 0,'-18'12'368'0'0,"14"-9"260"0"0,2 2 64 0 0,-2 0-478 0 0,-6 19 735 0 0,0 4-147 0 0,0 4-419 0 0,8-25-344 0 0,-5 21 76 0 0,1 3-93 0 0,2-18-22 0 0,3-8-3 0 0,0 0 0 0 0,0 0 0 0 0,0 0 0 0 0,1 8 0 0 0,-3 46 292 0 0,4 0 1 0 0,11 90-1 0 0,12 36 926 0 0,8 149-282 0 0,-20 2-912 0 0,-7-163 15 0 0,-2-95 744 0 0,-1-83-1064 0 0,7-17-227 0 0,-7 12-288 0 0,1-24-1751 0 0,1-50-1356 0 0,-1 59 3906 0 0</inkml:trace>
</inkml:ink>
</file>

<file path=ppt/ink/ink5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5:13.47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3 90 8 0 0,'-32'-7'0'0'0,"1"1"0"0"0,6-3 0 0 0,2 0 8 0 0,-2-4 2357 0 0,22 9-1677 0 0,-11-15 2264 0 0,18 18-2394 0 0,13-6 10 0 0,-13 6 9 0 0,1-1 11 0 0,1 0-392 0 0,-3 1-31 0 0,1 0 0 0 0,-1 1 1 0 0,0-1-1 0 0,1 0 0 0 0,4 1 0 0 0,21-3 1070 0 0,216 0 2431 0 0,-141 4-3163 0 0,-48 0-325 0 0,72-2 2 0 0,37 1-1865 0 0,-163 0 1466 0 0,0 0 1 0 0,0 0-1 0 0,1 0 0 0 0,-1 1 0 0 0,0-1 0 0 0,0 1 1 0 0,0-1-1 0 0,4 2 0 0 0,-1 0-246 0 0,0 0-1174 0 0,4 2-1253 0 0,0 0 1814 0 0,0-2-2749 0 0</inkml:trace>
</inkml:ink>
</file>

<file path=ppt/ink/ink5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08.02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82 118 8 0 0,'0'0'1371'0'0,"2"-3"-389"0"0,10-16 4297 0 0,-10 15-4273 0 0,5-14-33 0 0,-6 13-38 0 0,-1 1-52 0 0,0-39 3934 0 0,-2 40-4641 0 0,-8-12-29 0 0,7 11 153 0 0,-15 6-143 0 0,14-2-23 0 0,0 2-82 0 0,-14 5-6 0 0,13-6 40 0 0,1 2-58 0 0,-2 0-20 0 0,-15 12 36 0 0,4-2-35 0 0,15-11-10 0 0,-1 0 0 0 0,1 0 1 0 0,-1 0-1 0 0,1 1 0 0 0,-1-1 0 0 0,-2 5 0 0 0,1-1 0 0 0,-3 2-3 0 0,-8 12 7 0 0,-8 13-4 0 0,19-27-2 0 0,-11 18-16 0 0,12-17 15 0 0,2-4-2 0 0,0 0 0 0 0,-1 0 1 0 0,0 0-1 0 0,0 0 1 0 0,0 0-1 0 0,-3 4 0 0 0,0-2-1 0 0,-12 20-24 0 0,-5 10 4 0 0,0 3-6 0 0,-2 8-15 0 0,2 2 0 0 0,-23 75 0 0 0,36-83 13 0 0,1 0 0 0 0,2 0 0 0 0,2 0 0 0 0,0 59 1 0 0,22 163 7 0 0,-16-245 34 0 0,33 313-186 0 0,13-2-16 0 0,-44-309 211 0 0,0-1 0 0 0,1 0 0 0 0,1 0 0 0 0,0-1 0 0 0,1 0 1 0 0,2 0-1 0 0,17 28 0 0 0,-17-31 19 0 0,17 23 71 0 0,5 4-58 0 0,-4-3-22 0 0,-21-31-24 0 0,-3-2 1 0 0,1 0 0 0 0,-1 0 0 0 0,1 0 0 0 0,2 7 0 0 0,-2-5 1 0 0,-1-4 0 0 0,-1 0-1 0 0,0 1 0 0 0,-1 0 1 0 0,1-1-1 0 0,0 1 1 0 0,1 6-1 0 0,11 31 8 0 0,-4-6-5 0 0,-6-22-5 0 0,7 20 6 0 0,1-3-7 0 0,3 8-22 0 0,-12-31 15 0 0,-2-4-5 0 0,0 1-1 0 0,1-1 1 0 0,-1 0-1 0 0,1 1 1 0 0,3 3-1 0 0,-2-1-22 0 0,12 15-299 0 0,-4-7-168 0 0,-8-10-391 0 0,2 0-577 0 0,17 11-857 0 0,-13-11-1104 0 0,8-1-628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7.21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2 41 208 0 0,'-2'-3'1475'0'0,"-27"-25"4846"0"0,19 19-3539 0 0,8 11-2720 0 0,0 2-32 0 0,1 0 1 0 0,0 0-1 0 0,-1 0 1 0 0,1 1 0 0 0,1-1-1 0 0,-1 0 1 0 0,1 0 0 0 0,-1 1-1 0 0,1-1 1 0 0,0 0-1 0 0,2 8 1 0 0,10 54 920 0 0,-8-53-732 0 0,45 171 1589 0 0,1 6-1202 0 0,-43-163-712 0 0,-1 1 264 0 0,6 40 0 0 0,-12-59-264 0 0,1-1-1 0 0,-1 0 0 0 0,0 0 0 0 0,-1 1 0 0 0,0-1 0 0 0,0 0 0 0 0,-1 0 0 0 0,0 0 0 0 0,-5 12 0 0 0,5-16-729 0 0,-1 0 0 0 0,1-1-1 0 0,0 1 1 0 0,-1-1-1 0 0,-4 4 1 0 0,-6 2-3918 0 0,10-8 3801 0 0,-3 0-1587 0 0,-10-2 1873 0 0</inkml:trace>
</inkml:ink>
</file>

<file path=ppt/ink/ink6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9.31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 149 11715 0 0,'0'0'2324'0'0,"1"3"-1961"0"0,6 12-78 0 0,-7-15-269 0 0,0 1 0 0 0,1-1-1 0 0,-1 1 1 0 0,0-1 0 0 0,0 1 0 0 0,1-1 0 0 0,-1 0-1 0 0,0 1 1 0 0,0-1 0 0 0,1 0 0 0 0,-1 1-1 0 0,0-1 1 0 0,1 0 0 0 0,-1 1 0 0 0,1-1-1 0 0,0 1 1 0 0,3 2 81 0 0,-2-1-35 0 0,0 0 0 0 0,0-1 0 0 0,0 0 0 0 0,0 1 0 0 0,0-1 0 0 0,0 0 0 0 0,0 0 0 0 0,3 1 0 0 0,13 6 326 0 0,-14-6 12 0 0,2 0-30 0 0,24 10 168 0 0,-6-4-226 0 0,-19-6-272 0 0,-4-1-23 0 0,1 0 0 0 0,0 0-1 0 0,0 0 1 0 0,0-1 0 0 0,0 1-1 0 0,-1-1 1 0 0,1 1 0 0 0,0-1-1 0 0,0 0 1 0 0,0 0 0 0 0,3 0-1 0 0,2 1 23 0 0,21 0 155 0 0,6 0-60 0 0,72-2 288 0 0,231-50 428 0 0,-270 38-824 0 0,21-3-8 0 0,45-8-42 0 0,-112 20 7 0 0,88-20-665 0 0,-65 14-542 0 0,-42 10 1026 0 0,1-1-1 0 0,0 0 1 0 0,0 1 0 0 0,0-1-1 0 0,-1-1 1 0 0,1 1-1 0 0,4-2 1 0 0,-1-1-159 0 0,-4 4 175 0 0,-1-1 0 0 0,1 0 0 0 0,0 1 0 0 0,-1-1 0 0 0,1 0 0 0 0,-1 0 0 0 0,1 0 0 0 0,-1 0 0 0 0,1 0 0 0 0,-1 0 0 0 0,3-3 0 0 0,-1 0-321 0 0,17-25-6623 0 0,-18 27 6371 0 0,-2 2 566 0 0,0-1 0 0 0,0 1 0 0 0,1-1 0 0 0,-1 1 0 0 0,0-1 0 0 0,0 0 0 0 0,0 1 0 0 0,0-1 1 0 0,1 1-1 0 0,-1-1 0 0 0,0 1 0 0 0,0-2 0 0 0,0-18-2429 0 0</inkml:trace>
</inkml:ink>
</file>

<file path=ppt/ink/ink6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29.64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2 1 8 0 0,'-9'1'1122'0'0,"7"0"-749"0"0,-1-1 1 0 0,1 1-1 0 0,0-1 1 0 0,-1 1-1 0 0,1 0 0 0 0,0 0 1 0 0,0 0-1 0 0,-1 0 0 0 0,-1 2 1 0 0,-24 12 1347 0 0,17-8-383 0 0,-4 8-354 0 0,10-8-198 0 0,4-3-561 0 0,1-3-127 0 0,0 0 0 0 0,-1 0 0 0 0,1 1 0 0 0,0-1 0 0 0,-1 0 0 0 0,1 0 0 0 0,-1 0 0 0 0,0 0 0 0 0,1 0 0 0 0,-1 0 0 0 0,-1 2 0 0 0,2 1 627 0 0,2 14 37 0 0,-2-13 20 0 0,4-3 2 0 0,13 6-6 0 0,-17-8-725 0 0,1 1 0 0 0,0-1 0 0 0,-1 0 0 0 0,1 1 0 0 0,-1-1 0 0 0,1 0 0 0 0,0 0 0 0 0,-1 0 0 0 0,1 0 0 0 0,0 0 0 0 0,-1 0 0 0 0,1 0 0 0 0,1 0 0 0 0,21 0 900 0 0,32-5 0 0 0,62-19 509 0 0,27-6-933 0 0,-87 23-810 0 0,0 2-1 0 0,1 2 0 0 0,-1 3 1 0 0,80 10-1 0 0,-120-8-410 0 0,15 2-664 0 0,-5-6-2656 0 0,-2-3 610 0 0,-15 2-868 0 0,11-8-146 0 0</inkml:trace>
</inkml:ink>
</file>

<file path=ppt/ink/ink6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0.0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0 21 8 0 0,'1'-20'12045'0'0,"4"36"-11593"0"0,-4-8-100 0 0,-2-4-251 0 0,0 16 315 0 0,1-15-350 0 0,0-2-24 0 0,1 0 0 0 0,-1 0 0 0 0,-1 1 0 0 0,1-1 0 0 0,0 0 0 0 0,-1 3 0 0 0,-4 29 200 0 0,-43 271 377 0 0,40-261-610 0 0,-4 69 1 0 0,12-111-64 0 0,-1 1 1 0 0,1-1 0 0 0,0 1-1 0 0,0-1 1 0 0,2 7 0 0 0,-1-4-70 0 0,-1-4 28 0 0,0-1-1 0 0,0 1 1 0 0,0-1-1 0 0,0 1 1 0 0,1 0 0 0 0,-1-1-1 0 0,1 0 1 0 0,-1 1-1 0 0,2 2 1 0 0,-2-4-33 0 0,0 1 0 0 0,1-1-1 0 0,-1 1 1 0 0,0-1 0 0 0,0 1 0 0 0,0-1 0 0 0,0 1 0 0 0,0-1 0 0 0,0 1-1 0 0,1 0 1 0 0,-1-1 0 0 0,0 1 0 0 0,-1-1 0 0 0,1 1 0 0 0,0-1 0 0 0,0 2-1 0 0,10 20-5220 0 0,17-2-332 0 0</inkml:trace>
</inkml:ink>
</file>

<file path=ppt/ink/ink6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0.41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5 99 8 0 0,'-20'-2'67'0'0,"15"1"361"0"0,1-1 425 0 0,-12-6-10 0 0,12 6 353 0 0,0-1-826 0 0,-11-10-106 0 0,12 9-32 0 0,0 1 15 0 0,-14-20 635 0 0,5 9-583 0 0,9 10 484 0 0,-1 1-555 0 0,-12-11 17 0 0,12 11 1117 0 0,2 3-1354 0 0,1 0-1 0 0,-1 0 0 0 0,1 1 1 0 0,-1-1-1 0 0,1 0 1 0 0,-1 1-1 0 0,1-1 0 0 0,0 1 1 0 0,-1-1-1 0 0,1 1 1 0 0,-2 0-1 0 0,-1 2 40 0 0,4 0-15 0 0,0 12 13 0 0,0-11 174 0 0,1 0-32 0 0,0 12 32 0 0,0-12 1512 0 0,0-3-1695 0 0,1-1 1 0 0,-1 1 0 0 0,1-1 0 0 0,-1 1-1 0 0,1 0 1 0 0,-1 0 0 0 0,1 0 0 0 0,-1 0-1 0 0,3 2 1 0 0,-1 0 22 0 0,1-1 612 0 0,-1-6-589 0 0,9-12-25 0 0,-9 12-32 0 0,-1-21-1538 0 0,-6 24 1354 0 0,-12-2 35 0 0,12 2 21 0 0,2 1 20 0 0,1 1 78 0 0,0 0 0 0 0,0-1-1 0 0,0 1 1 0 0,0 0 0 0 0,0-1-1 0 0,1 1 1 0 0,-1 0-1 0 0,0 0 1 0 0,-1 1 0 0 0,2-2 1 0 0,-1 1 0 0 0,0 0 0 0 0,0 0 0 0 0,0 0 0 0 0,0 0 1 0 0,1-1-1 0 0,-1 1 0 0 0,0 0 0 0 0,0-1 0 0 0,-2 1 0 0 0,0 3-5 0 0,-12 13-3 0 0,11-13-28 0 0,29 3-9950 0 0</inkml:trace>
</inkml:ink>
</file>

<file path=ppt/ink/ink6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2.301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7 19 3201 0 0,'-53'-9'2750'0'0,"16"5"-1507"0"0,0 0 720 0 0,33 4-1277 0 0,-8-1 164 0 0,10 1-716 0 0,0-1 1 0 0,-1 1-1 0 0,1 0 0 0 0,0 1 1 0 0,-1-1-1 0 0,1 0 0 0 0,-4 2 1 0 0,-12 1 166 0 0,14-2-34 0 0,-1 0-16 0 0,-15 6-3 0 0,15-6 2 0 0,0 2 9 0 0,-17 9-8 0 0,17-9-7 0 0,0 2-17 0 0,-17 14-9 0 0,13-8 4 0 0,4-5-149 0 0,2-3-1 0 0,0 1 0 0 0,1 0 0 0 0,-1 0 0 0 0,-3 8 0 0 0,-71 127 870 0 0,52-83-737 0 0,1 2 0 0 0,4 1 0 0 0,1 0 1 0 0,4 1-1 0 0,-12 95 0 0 0,13-18 391 0 0,5 193 0 0 0,21 22-506 0 0,23-3-111 0 0,-21-258 19 0 0,5 0 0 0 0,40 120 0 0 0,-41-161 110 0 0,3 0 1 0 0,1-2-1 0 0,3 0 0 0 0,1-1 1 0 0,51 65-1 0 0,-23-46-188 0 0,3-3-1 0 0,122 106 1 0 0,-106-106-1367 0 0,-63-56 610 0 0,16 10-276 0 0,-14-12-362 0 0,10 2-556 0 0,-22-7 1841 0 0,1 1 0 0 0,-1-1 0 0 0,1 0 0 0 0,0 0 0 0 0,-1 0 0 0 0,1 0 0 0 0,-1 0 0 0 0,1 0-1 0 0,0 0 1 0 0,-1 0 0 0 0,1 0 0 0 0,-1 0 0 0 0,1 0 0 0 0,0 0 0 0 0,18-3-3544 0 0,-11-1 181 0 0,13-11 1826 0 0</inkml:trace>
</inkml:ink>
</file>

<file path=ppt/ink/ink6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3.12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2 1164 8 0 0,'-27'12'7092'0'0,"24"-11"-5652"0"0,-16 5 1062 0 0,19-10-1465 0 0,-1-1-723 0 0,0-16 1085 0 0,1-33 252 0 0,12-77 0 0 0,-2 78-1259 0 0,3 1 0 0 0,2 0 0 0 0,2 0 0 0 0,34-70-1 0 0,-1 19-440 0 0,5 2 0 0 0,69-94-1 0 0,-89 142 41 0 0,45-59 37 0 0,-61 87-29 0 0,1 0-6 0 0,-16 20-2 0 0,-1 2-9 0 0,12-8-11 0 0,-11 8-7 0 0,-3 7-151 0 0,4 14 141 0 0,-5-7 12 0 0,-5 25-24 0 0,-24 105-26 0 0,-5 19 398 0 0,-17 401-478 0 0,50-541 156 0 0,-16 230-58 0 0,10-207-18 0 0,-1 1 1 0 0,-21 59 0 0 0,28-101 22 0 0,0 1 1 0 0,0 0-1 0 0,0 0 0 0 0,0-1 0 0 0,-1 1 0 0 0,-1 3 0 0 0,0-2-56 0 0,1 0-316 0 0,-10-32-7991 0 0,12 27 8329 0 0,-1 1 1 0 0,1 0 0 0 0,0-1-1 0 0,0 1 1 0 0,0-1 0 0 0,-1 1-1 0 0,1 0 1 0 0,0-1 0 0 0,0 1-1 0 0,0-1 1 0 0,0 1 0 0 0,0 0-1 0 0,0-1 1 0 0,0 1 0 0 0,0-1 0 0 0,0 1-1 0 0,0 0 1 0 0,0-1 0 0 0,0 1-1 0 0,0-1 1 0 0,0 1 0 0 0,0 0-1 0 0,1-1 1 0 0,-1 0 0 0 0,2-4-798 0 0,6-17-3599 0 0,0-3 3399 0 0</inkml:trace>
</inkml:ink>
</file>

<file path=ppt/ink/ink6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33.74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7 11 8 0 0,'-24'-7'0'0'0,"-3"4"209"0"0,21 3 844 0 0,-3-1 628 0 0,-1 2-1372 0 0,-2 2 3014 0 0,-6 4 916 0 0,19-4-3955 0 0,2 12-4 0 0,-2-11-9 0 0,10 0 74 0 0,-9-3-313 0 0,-1 0-1 0 0,1 0 1 0 0,-1 0 0 0 0,1-1 0 0 0,0 1 0 0 0,-1-1-1 0 0,1 1 1 0 0,2-1 0 0 0,0 2 24 0 0,15 1 235 0 0,-14-2-229 0 0,18 0 301 0 0,10-1 263 0 0,5-3 87 0 0,30 0-7 0 0,113-8 709 0 0,-5 6-941 0 0,-134 5-423 0 0,-38 0 2 0 0,-1 1-25 0 0,11 2 314 0 0,-19-5-348 0 0,3 2-3 0 0,0-1 0 0 0,0 1 1 0 0,-1-1-1 0 0,1 1 0 0 0,0 0 0 0 0,0 0 0 0 0,-4 0 1 0 0,-20 0-148 0 0,-7 0-20 0 0,-4 2 17 0 0,-55-1-1 0 0,66-2 137 0 0,-26-1 61 0 0,-87-14-1 0 0,121 13-37 0 0,14 2-12 0 0,0 1-1 0 0,-11 2-13 0 0,11-1 4 0 0,8 2-66 0 0,9 12 81 0 0,-6-9-4 0 0,15 8 6 0 0,-5-4-8 0 0,0-1 0 0 0,1-1 0 0 0,0 0-1 0 0,0-2 1 0 0,28 8 0 0 0,-25-10-522 0 0,0-1 0 0 0,-1-1-1 0 0,1-1 1 0 0,35-2 0 0 0,-40-1-2027 0 0,0 0 0 0 0,0-1 0 0 0,26-9 0 0 0,-17 2-1036 0 0</inkml:trace>
</inkml:ink>
</file>

<file path=ppt/ink/ink6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8.2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9 82 3025 0 0,'0'0'7947'0'0,"-4"-3"-6683"0"0,-12-16 1147 0 0,14 15-1723 0 0,-6-14-32 0 0,6 13 769 0 0,-2 1-1179 0 0,-13-10-82 0 0,13 10-14 0 0,-15 4-157 0 0,16 0-34 0 0,0 4-170 0 0,-11 14 191 0 0,11-13 27 0 0,6-1 22 0 0,6 10 8 0 0,-6-10-3 0 0,1-2-6 0 0,16 6-20 0 0,-15-7-36 0 0,1 0 1 0 0,-1-1-1 0 0,0 0 1 0 0,0 0-1 0 0,10-1 1 0 0,-13 0-3 0 0,0 1-6 0 0,-1 0 0 0 0,1 0 0 0 0,-1 0 0 0 0,1 0 0 0 0,-1-1 0 0 0,1 1 0 0 0,-1-1 0 0 0,1 1 0 0 0,-1-1 0 0 0,1 1-1 0 0,-1-1 1 0 0,2-1 0 0 0,1 0-96 0 0,14-7-943 0 0,-14 6 789 0 0,0 1-810 0 0,1-2-431 0 0,15-13-572 0 0,-1-5-7344 0 0,-16 18 7933 0 0</inkml:trace>
</inkml:ink>
</file>

<file path=ppt/ink/ink6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6.69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 113 8 0 0,'0'-18'13'0'0,"0"14"1070"0"0,2-8 42 0 0,2-2 3562 0 0,0-4 1505 0 0,-3 23-6157 0 0,2 17-23 0 0,-2-13-6 0 0,-5 30 4 0 0,3-35-1 0 0,-2 10 27 0 0,2-10-27 0 0,0 0 469 0 0,4-9-470 0 0,1 0-11 0 0,-3 3-2 0 0,1 0 0 0 0,-1 0 0 0 0,1 0 0 0 0,-1 0 1 0 0,0-1-1 0 0,0 1 0 0 0,0 0 0 0 0,1-4 0 0 0,-1 1-9 0 0,5-13-76 0 0,-2-9-43 0 0,0-12-2 0 0,-3 35 115 0 0,-2 0 20 0 0,-2-10-6 0 0,2 10 63 0 0,-3 6 46 0 0,-13 6 35 0 0,17-8-132 0 0,0 0 0 0 0,-1 1 0 0 0,1-1 0 0 0,0 0 0 0 0,-1 0 0 0 0,1 0 0 0 0,0 0-1 0 0,0 0 1 0 0,-1 1 0 0 0,1-1 0 0 0,0 0 0 0 0,0 0 0 0 0,0 0 0 0 0,-1 1 0 0 0,1-1 0 0 0,0 0 0 0 0,0 0-1 0 0,0 1 1 0 0,0-1 0 0 0,-1 0 0 0 0,1 0 0 0 0,0 1 0 0 0,0-1 0 0 0,0 0 0 0 0,0 1 0 0 0,-2 3 48 0 0,-3 15 225 0 0,4-13-224 0 0,-3 19 190 0 0,2 12-72 0 0,3-6-151 0 0,-1-20-32 0 0,0-7-22 0 0,1 0 0 0 0,-1 1 1 0 0,1-1-1 0 0,0 0 0 0 0,2 7 1 0 0,3 14-385 0 0,-1-14-453 0 0,-2-4 405 0 0,-1-5 52 0 0,-1 1-1 0 0,0 0 0 0 0,1-1 1 0 0,0 1-1 0 0,-1-1 0 0 0,1 1 1 0 0,0-1-1 0 0,3 2 0 0 0,11 15-3233 0 0,-6-12 76 0 0,16 7 1911 0 0</inkml:trace>
</inkml:ink>
</file>

<file path=ppt/ink/ink6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8.9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48 232 8 0 0,'-5'-32'0'0'0,"2"1"0"0"0,-2 1 249 0 0,1-9 3121 0 0,4 36-2275 0 0,-2-2-89 0 0,-3-15-93 0 0,4 15-48 0 0,1 1-9 0 0,-2-14-1 0 0,2 13-9 0 0,-1 1-16 0 0,-3-14 2315 0 0,0 15-2719 0 0,-13-8-17 0 0,13 8-19 0 0,0 3-24 0 0,-12 4-38 0 0,12-3-43 0 0,-1 1-49 0 0,-13 8-38 0 0,13-8-42 0 0,0 3-30 0 0,-2 0-91 0 0,4-2-17 0 0,0-1 0 0 0,0 1 1 0 0,0 0-1 0 0,0 0 0 0 0,0 0 1 0 0,-2 4-1 0 0,1-2-1 0 0,1-3-7 0 0,1 1 1 0 0,0 0-1 0 0,-1 0 0 0 0,1 0 0 0 0,-2 4 1 0 0,-15 26 6 0 0,2-2-22 0 0,10-19 2 0 0,4-6 0 0 0,0 0-1 0 0,0 0 1 0 0,-3 10 0 0 0,-8 22-20 0 0,12-33 24 0 0,1-2 11 0 0,0-1 0 0 0,0 0 0 0 0,0 0 0 0 0,0 0 0 0 0,1 1 0 0 0,-1-1 0 0 0,1 0 0 0 0,0 1 0 0 0,0 2 0 0 0,-2 1 33 0 0,2-5-26 0 0,-1 1 0 0 0,1 0 0 0 0,0 0 0 0 0,0 0 0 0 0,0 0 0 0 0,0 0 0 0 0,0 0 0 0 0,0-1 0 0 0,0 1 0 0 0,0 0-1 0 0,1 2 1 0 0,-1 1 21 0 0,0-3-32 0 0,0 0 0 0 0,0 0 0 0 0,1 0 0 0 0,-1-1 0 0 0,0 1 0 0 0,1 0 0 0 0,-1 0-1 0 0,1-1 1 0 0,-1 1 0 0 0,1 0 0 0 0,1 2 0 0 0,10 18-9 0 0,-9-17 2 0 0,-1-1 1 0 0,0 0 1 0 0,1-1-1 0 0,0 0 1 0 0,3 5-1 0 0,12 9 1 0 0,-12-13-4 0 0,-3-1-2 0 0,1 0 1 0 0,0 0-1 0 0,0-1 0 0 0,9 4 0 0 0,23 12-49 0 0,61 23-1139 0 0,-66-31 190 0 0,-24-8-109 0 0,0 0-1 0 0,0 0 1 0 0,-1 1 0 0 0,13 6 0 0 0,-11-5 70 0 0,5 3-315 0 0,4 4-3079 0 0,10 8 1365 0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7.55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3 118 8 0 0,'-4'-13'1743'0'0,"1"0"0"0"0,1-1 0 0 0,-2-19 0 0 0,4 32-1512 0 0,0 0 0 0 0,0 0-1 0 0,0 0 1 0 0,0 1 0 0 0,0-1-1 0 0,0 0 1 0 0,0 0 0 0 0,1 0-1 0 0,-1 1 1 0 0,0-1 0 0 0,0 0-1 0 0,1 0 1 0 0,4-8 3409 0 0,-4 8-3488 0 0,0-1 53 0 0,0 1 0 0 0,0-1 0 0 0,0 1 0 0 0,0-1-1 0 0,1 1 1 0 0,-1 0 0 0 0,1 0 0 0 0,-1 0 0 0 0,0 0-1 0 0,1 0 1 0 0,0 0 0 0 0,-1 0 0 0 0,1 0 0 0 0,0 1-1 0 0,-1-1 1 0 0,3 0 0 0 0,0 0 7 0 0,14-2 706 0 0,8 3-477 0 0,0 1 0 0 0,1 1 1 0 0,36 7-1 0 0,81 25-4547 0 0,-70-13-9994 0 0,-56-18 12166 0 0</inkml:trace>
</inkml:ink>
</file>

<file path=ppt/ink/ink7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9.31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2 0 8 0 0,'0'0'3735'0'0,"-4"0"-2220"0"0,-15 0 606 0 0,15 5-2092 0 0,-12 11-7 0 0,12-12 19 0 0,1 1 36 0 0,-17 27 267 0 0,3 1 243 0 0,12-26-472 0 0,3-3-10 0 0,-1 0 0 0 0,1 0 0 0 0,0 0 0 0 0,0 0 0 0 0,-1 7 1 0 0,-6 13 466 0 0,2 1 0 0 0,0 0 0 0 0,-2 27 0 0 0,7-34-159 0 0,1 1 0 0 0,1 0 0 0 0,1 0 0 0 0,0 0 0 0 0,2-1 0 0 0,8 36 0 0 0,-10-50-346 0 0,0-1-1 0 0,1 1 1 0 0,-1-1-1 0 0,1 0 1 0 0,-1 0-1 0 0,5 5 0 0 0,-2-1 14 0 0,4 4 128 0 0,10 7-38 0 0,-18-18-158 0 0,1 1 1 0 0,0 0-1 0 0,-1-1 0 0 0,1 1 0 0 0,-1-1 1 0 0,1 1-1 0 0,0-1 0 0 0,0 1 0 0 0,-1-1 1 0 0,1 1-1 0 0,1-1 0 0 0,18 8 127 0 0,-20-7-130 0 0,1-1 1 0 0,0 0-1 0 0,-1 1 1 0 0,1-1-1 0 0,-1 0 1 0 0,1 0-1 0 0,0 0 1 0 0,-1 0-1 0 0,1 0 1 0 0,-1 0-1 0 0,1 0 1 0 0,0 0-1 0 0,-1 0 1 0 0,2 0-1 0 0,17-1 135 0 0,-9-2-1 0 0,8-7-8 0 0,-9 2-15 0 0,11-13-15 0 0,-11 9-9 0 0,5-12 29 0 0,-1-1-1 0 0,18-48 1 0 0,-26 54-120 0 0,-1-1 0 0 0,-1 1-1 0 0,0-1 1 0 0,-2 1 0 0 0,0-1 0 0 0,-3-34 0 0 0,-1 44-139 0 0,-5-17-50 0 0,3 15-45 0 0,-8-13-24 0 0,12 22 206 0 0,-1 1 1 0 0,1 0-1 0 0,0-1 0 0 0,-1 1 0 0 0,1 0 0 0 0,-1 0 1 0 0,0-1-1 0 0,-3-2 0 0 0,0 0-29 0 0,-4-3-134 0 0,-10-5 25 0 0,18 13 172 0 0,0-1 0 0 0,1 1 1 0 0,-1 0-1 0 0,1-1 0 0 0,-1 1 1 0 0,0 0-1 0 0,1-1 0 0 0,-1 1 0 0 0,0 0 1 0 0,0 0-1 0 0,1-1 0 0 0,-2 1 1 0 0,-18-3-131 0 0,11 3 3 0 0,-9 3 12 0 0,17-3 121 0 0,0 0-1 0 0,1 0 1 0 0,-1 1 0 0 0,1-1 0 0 0,-1 0 0 0 0,1 0 0 0 0,-1 0-1 0 0,1 1 1 0 0,-1-1 0 0 0,1 0 0 0 0,-1 0 0 0 0,1 1 0 0 0,-1-1-1 0 0,1 0 1 0 0,-1 1 0 0 0,-16 12-105 0 0,10-4 4 0 0,-6 10 16 0 0,8-8 4 0 0,2-5 59 0 0,2-3 13 0 0,0-1 0 0 0,0 1 0 0 0,1-1 0 0 0,-1 1 0 0 0,0-1 0 0 0,1 1 0 0 0,0-1 0 0 0,-1 1 0 0 0,1 3 0 0 0,-1 17-139 0 0,2-12-192 0 0,4 14-341 0 0,-2-13-446 0 0,7 9-525 0 0,-4-11-577 0 0,9 8-521 0 0,-14-17 2500 0 0,-1-1-1 0 0,1 1 1 0 0,0 0-1 0 0,-1 0 1 0 0,1-1-1 0 0,0 1 1 0 0,0-1-1 0 0,-1 1 1 0 0,1-1-1 0 0,1 2 1 0 0,25 12-1540 0 0,-3-7 1476 0 0</inkml:trace>
</inkml:ink>
</file>

<file path=ppt/ink/ink7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7.20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7 136 8 0 0,'0'0'14614'0'0,"-2"-4"-13941"0"0,-8-21 1244 0 0,4 9-1592 0 0,4 12 261 0 0,1 0-317 0 0,-6-13-20 0 0,5 13 243 0 0,0 1-226 0 0,-6-12 3 0 0,6 11 145 0 0,0 0-292 0 0,-4-10-48 0 0,4 10-32 0 0,1 0-152 0 0,-3-10-1200 0 0,5 41 667 0 0,0-9 327 0 0,0-13-91 0 0,0-1-134 0 0,4 15-203 0 0,-4-15-263 0 0,2 0-355 0 0,6 13-498 0 0,6 14-10152 0 0</inkml:trace>
</inkml:ink>
</file>

<file path=ppt/ink/ink7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9.82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99 1 8 0 0,'0'0'1672'0'0,"-5"2"103"0"0,0 1-1168 0 0,-4 2 68 0 0,-4 1 2702 0 0,-3 3-1897 0 0,12-7 36 0 0,-1-1 7 0 0,-24 9 1243 0 0,2-2-595 0 0,22-6-1869 0 0,2-1-110 0 0,1 0 0 0 0,-1 0-1 0 0,0 0 1 0 0,1 0 0 0 0,-1 0 0 0 0,-3 0 0 0 0,-12 1 1152 0 0,-27 0 0 0 0,41-2-1008 0 0,2 0-292 0 0,0 0 0 0 0,0-1-1 0 0,0 1 1 0 0,0 0 0 0 0,0-1 0 0 0,0 1-1 0 0,0-1 1 0 0,-2-1 0 0 0,-1 1 16 0 0,0-1 87 0 0,0 1-37 0 0,-13-6-36 0 0,14 5-32 0 0,0 1-19 0 0,-13-4-23 0 0,9 5-20 0 0,3 1 12 0 0,4 0 3 0 0,0-1 1 0 0,-1 1-1 0 0,1-1 1 0 0,-1 1-1 0 0,1-1 1 0 0,-1 0-1 0 0,1 0 1 0 0,-1 0 0 0 0,0 0-1 0 0,-1 0 1 0 0,-1 5-36 0 0,-1-1 24 0 0,3-2 8 0 0,0-1-1 0 0,0 1 0 0 0,0 0 0 0 0,0 0 0 0 0,1 0 0 0 0,-1 0 0 0 0,1 1 0 0 0,-1-1 0 0 0,0 3 1 0 0,-2 1-13 0 0,1-3-5 0 0,1 1 1 0 0,0 0-1 0 0,0-1 1 0 0,-3 8 0 0 0,-3 10-29 0 0,1 0 0 0 0,1 0 1 0 0,1 1-1 0 0,-5 40 0 0 0,9-32-81 0 0,1 0 0 0 0,1 1-1 0 0,10 59 1 0 0,-10-88 85 0 0,-1 1 1 0 0,1 0-1 0 0,0 0 1 0 0,0 0-1 0 0,0-1 1 0 0,0 1-1 0 0,3 4 1 0 0,-1-1-38 0 0,3 3-186 0 0,7 6-19 0 0,-5-9-42 0 0,-4-2 206 0 0,-2-3 47 0 0,-1 0 0 0 0,1 0-1 0 0,-1 0 1 0 0,1 0 0 0 0,0 0 0 0 0,0 0 0 0 0,0 0 0 0 0,0 0-1 0 0,3 0 1 0 0,15 6-639 0 0,-10-5-242 0 0,-4-2 571 0 0,-4 1 162 0 0,0-1 0 0 0,1 0 1 0 0,-1 0-1 0 0,0 0 1 0 0,0 0-1 0 0,0 0 1 0 0,0 0-1 0 0,1-1 1 0 0,-1 1-1 0 0,2-2 1 0 0,3 1-430 0 0,19-6-3339 0 0,-1-1 943 0 0,-13 2-281 0 0,22-16-507 0 0,-5 1 3735 0 0</inkml:trace>
</inkml:ink>
</file>

<file path=ppt/ink/ink7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0.15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7 67 592 0 0,'-3'4'2782'0'0,"-1"1"-1909"0"0,1-2-244 0 0,1 0 0 0 0,0 0 0 0 0,0 0 1 0 0,0 0-1 0 0,-2 5 0 0 0,-12 23 2202 0 0,9-17-1757 0 0,6-10-44 0 0,-1 0 4 0 0,-9 14 1700 0 0,10-14-2079 0 0,-1-1-442 0 0,2-2-69 0 0,-1 0 0 0 0,1 1 0 0 0,-1-1 0 0 0,1 0 0 0 0,-1 0 0 0 0,1 0 0 0 0,0 1 0 0 0,-1-1 0 0 0,1 0 0 0 0,0 2 0 0 0,4-5 12 0 0,15-10-82 0 0,-12 5-88 0 0,11-19-311 0 0,-14 19 234 0 0,-2 3-1 0 0,0 0 1 0 0,0 0 0 0 0,1 1 0 0 0,-1-1-1 0 0,6-5 1 0 0,-2 2-33 0 0,-3 2-9 0 0,1 1-1 0 0,-1 0 0 0 0,1 0 1 0 0,7-6-1 0 0,22-21-807 0 0,-27 26 771 0 0,-3 2 29 0 0,0 0 0 0 0,0 1 0 0 0,1-1 0 0 0,-1 0 1 0 0,5-1-1 0 0,-4 0-14 0 0,-2 3 88 0 0,-1 0 0 0 0,1-1 1 0 0,-1 1-1 0 0,1 0 0 0 0,0 0 1 0 0,0 0-1 0 0,-1 0 0 0 0,1 0 1 0 0,0 1-1 0 0,3-2 0 0 0,10-3-277 0 0,-12 4 78 0 0,1 2 64 0 0,13 2 54 0 0,-13-2 38 0 0,0 4 39 0 0,13 13 44 0 0,-17-18 28 0 0,1 1 0 0 0,-1-1 0 0 0,1 1 0 0 0,-1 0 0 0 0,1-1-1 0 0,-1 1 1 0 0,0-1 0 0 0,1 1 0 0 0,-1 0 0 0 0,0 0 0 0 0,1-1 0 0 0,-1 1-1 0 0,0 1 1 0 0,5 15 129 0 0,-2 0-1 0 0,0 0 0 0 0,-1 1 1 0 0,-1-1-1 0 0,-1 25 1 0 0,-2-2 249 0 0,-11 55 0 0 0,-3 10-2681 0 0,14-98 1702 0 0,0 4-223 0 0,-1 6-2728 0 0,1-12 2401 0 0,0 3-338 0 0</inkml:trace>
</inkml:ink>
</file>

<file path=ppt/ink/ink7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7.77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9 30 1432 0 0,'-4'0'2242'0'0,"-14"0"-109"0"0,13 0-305 0 0,2 0-452 0 0,-16 2 4875 0 0,23 2-5687 0 0,11 11-57 0 0,-12-12-75 0 0,1-1-56 0 0,11 7-75 0 0,-12-7-59 0 0,37 0 221 0 0,-20-2-357 0 0,-10-1-31 0 0,21-9-3 0 0,-25 8-71 0 0,18-7-66 0 0,3-3-302 0 0,-9 2 30 0 0,-14 7-77 0 0,1 1-56 0 0,15-8-40 0 0,-15 8-2 0 0,-1 0-27 0 0,10-3-45 0 0,-10 4-51 0 0,0 3-836 0 0,13 4 636 0 0,-13-4-69 0 0,0 3-1119 0 0,12 15 855 0 0,-12-15-216 0 0,0-1-343 0 0,0 1 1072 0 0,-2-3 278 0 0,0 0-1 0 0,-1 0 1 0 0,1 0-1 0 0,0 0 0 0 0,0-1 1 0 0,0 1-1 0 0,0-1 0 0 0,4 3 1 0 0,12 8-18 0 0</inkml:trace>
</inkml:ink>
</file>

<file path=ppt/ink/ink7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0.67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97 0 8 0 0,'-20'17'29'0'0,"18"-16"50"0"0,0 0-1 0 0,0 1 0 0 0,1-1 0 0 0,-1 1 0 0 0,0 0 1 0 0,1-1-1 0 0,-3 4 0 0 0,-4 5 1291 0 0,7-9-1228 0 0,0 1 0 0 0,0-1 0 0 0,0 0-1 0 0,0 0 1 0 0,1 0 0 0 0,-1 1-1 0 0,0-1 1 0 0,1 1 0 0 0,-1-1-1 0 0,0 3 1 0 0,0 0 150 0 0,-1 0 586 0 0,-1 0-32 0 0,-1 1-570 0 0,2-3-108 0 0,1 0 0 0 0,-1 0 1 0 0,1 0-1 0 0,0 1 0 0 0,-1-1 0 0 0,1 0 0 0 0,-1 5 1 0 0,-1-2 71 0 0,2-4-116 0 0,0 1 0 0 0,1 0 0 0 0,-1 0 0 0 0,0 0 0 0 0,0-1 0 0 0,1 1 0 0 0,0 0 0 0 0,-1 4 0 0 0,-4 21 887 0 0,3-21-867 0 0,-1 16 512 0 0,2-17-536 0 0,1-3-65 0 0,-1 0 0 0 0,1 0 0 0 0,0 0 0 0 0,-1 0 0 0 0,1 0 1 0 0,0 0-1 0 0,0 0 0 0 0,1 0 0 0 0,-1 0 0 0 0,1 3 0 0 0,0 1 64 0 0,3 19 469 0 0,-3-19-472 0 0,0-3-23 0 0,-1 1 0 0 0,1-1 0 0 0,0 0 0 0 0,0 0 0 0 0,2 4-1 0 0,-2-2 5 0 0,0-3-55 0 0,-1 0 0 0 0,1 0 0 0 0,0-1 0 0 0,-1 1 1 0 0,1 0-1 0 0,0 0 0 0 0,0-1 0 0 0,0 1 0 0 0,2 1 0 0 0,7 12 119 0 0,-8-11-61 0 0,2 0-46 0 0,13 14-22 0 0,-9-11-23 0 0,-5-4-13 0 0,-1-2-7 0 0,0 0 1 0 0,-1 0-1 0 0,1 0 1 0 0,0 0 0 0 0,0 0-1 0 0,0 0 1 0 0,0-1-1 0 0,2 1 1 0 0,0 1-42 0 0,-3-1 12 0 0,0 0 0 0 0,1-1-1 0 0,-1 1 1 0 0,1 0 0 0 0,-1-1 0 0 0,1 0 0 0 0,0 1 0 0 0,-1-1 0 0 0,1 0 0 0 0,2 0-1 0 0,1 1-102 0 0,-3 0 24 0 0,1-1 0 0 0,-1 0 0 0 0,0 0 0 0 0,1 1 0 0 0,-1-1 0 0 0,1-1 0 0 0,3 1 0 0 0,26-3-1699 0 0,-7 2 489 0 0,-22 1 1022 0 0,-1 0 0 0 0,1-1 0 0 0,-1 1-1 0 0,1 0 1 0 0,0-1 0 0 0,-1 1-1 0 0,1-1 1 0 0,-1 0 0 0 0,4-1-1 0 0,0-1-408 0 0,5-1-1657 0 0,18-6 488 0 0,6-5 1518 0 0</inkml:trace>
</inkml:ink>
</file>

<file path=ppt/ink/ink7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0.99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40 33 8 0 0,'0'0'1055'0'0,"-4"2"547"0"0,-19 11 5515 0 0,26-28-6261 0 0,-2 11-704 0 0,0 0 615 0 0,3 2-485 0 0,13-10-77 0 0,-13 9-81 0 0,-3 3-117 0 0,0 0-1 0 0,1 0 1 0 0,-1 0-1 0 0,0-1 1 0 0,0 1 0 0 0,1 0-1 0 0,-1-1 1 0 0,0 1 0 0 0,0-1-1 0 0,2 0 1 0 0,0-1-4 0 0,1 1-23 0 0,0 2-73 0 0,1 0 74 0 0,11 2-72 0 0,-13 2 83 0 0,12 14 14 0 0,-10-10 3 0 0,-4-5-5 0 0,2 15 23 0 0,-2-15-22 0 0,0-2-2 0 0,-1 0 0 0 0,0 0 0 0 0,1 0 0 0 0,-1 0 0 0 0,0 0 1 0 0,0 0-1 0 0,0 0 0 0 0,-1 3 0 0 0,-2 23 34 0 0,3-21-33 0 0,0-4-2 0 0,-1 1 0 0 0,1 0 0 0 0,-1-1 0 0 0,0 1 0 0 0,1-1 0 0 0,-3 5 0 0 0,-42 120 150 0 0,33-99-84 0 0,-22 62 402 0 0,31-84-451 0 0,-6 22 36 0 0,7-23-53 0 0,1-4-3 0 0,1 0 0 0 0,-1 0 0 0 0,0 0 0 0 0,1 0 1 0 0,-1 0-1 0 0,1 0 0 0 0,0 1 0 0 0,0-1 0 0 0,0 3 0 0 0,0 10-22 0 0,0-11-15 0 0,1-1-44 0 0,0 1 24 0 0,0-3-15 0 0,-1 1 0 0 0,1-1 0 0 0,-1 0-1 0 0,0 0 1 0 0,1 1 0 0 0,-1-1 0 0 0,0 0 0 0 0,0 1 0 0 0,0 1 0 0 0,5-1-507 0 0,13 4-211 0 0,-18-6 730 0 0,0 1 0 0 0,1-1 1 0 0,-1 0-1 0 0,1 0 0 0 0,-1 0 1 0 0,1 0-1 0 0,-1 0 0 0 0,1 0 0 0 0,-1 0 1 0 0,1 1-1 0 0,-1-1 0 0 0,1-1 1 0 0,-1 1-1 0 0,1 0 0 0 0,-1 0 0 0 0,2 0 1 0 0,3-1-349 0 0,19-4-2107 0 0,-16 3 1874 0 0,24-9-3106 0 0,32-14 1502 0 0,-34 13 2246 0 0</inkml:trace>
</inkml:ink>
</file>

<file path=ppt/ink/ink7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1.55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54 47 8 0 0,'0'0'1426'0'0,"-2"-4"-466"0"0,1 0-642 0 0,0 3-69 0 0,0-1 0 0 0,1 1 0 0 0,-1 0 0 0 0,1-1 0 0 0,-1 1 0 0 0,1 0 0 0 0,0-1 0 0 0,0 1 0 0 0,-1-4 0 0 0,-2 3 368 0 0,-12-10-44 0 0,11 9-46 0 0,0 2-18 0 0,-14-2 15 0 0,13 2 36 0 0,1 2 37 0 0,-13 0 17 0 0,13 0 4 0 0,-1 0-29 0 0,-14 4-43 0 0,14-4-43 0 0,0 2-47 0 0,-21 11 350 0 0,22-13-679 0 0,2-1-73 0 0,1 1-1 0 0,-1-1 1 0 0,1 1 0 0 0,-1-1 0 0 0,1 1 0 0 0,-1 0 0 0 0,1 0-1 0 0,0 0 1 0 0,-1-1 0 0 0,1 1 0 0 0,-1 2 0 0 0,-2 0 77 0 0,-15 11 531 0 0,-9 4 64 0 0,-2 1-144 0 0,-1 1-181 0 0,25-18-355 0 0,3 0-21 0 0,0-1 0 0 0,0 1 0 0 0,0 0 0 0 0,0 0 0 0 0,0 0 0 0 0,-2 2 0 0 0,-11 9 46 0 0,11-9-19 0 0,2 0-7 0 0,-10 12-10 0 0,10-12-3 0 0,2 1 1 0 0,-1-1-20 0 0,1-2-6 0 0,0-1 0 0 0,1 1 0 0 0,-1 0 0 0 0,0-1 0 0 0,1 1 0 0 0,0-1 0 0 0,-1 1 0 0 0,1 0 0 0 0,0-1 0 0 0,0 1 0 0 0,0 2 0 0 0,0 0 15 0 0,0-2-8 0 0,-1 0-1 0 0,1-1 0 0 0,0 1 0 0 0,0 0 1 0 0,0 0-1 0 0,1-1 0 0 0,-1 1 0 0 0,1 3 1 0 0,5 19 130 0 0,1 2-10 0 0,-5-20-114 0 0,-2-3-5 0 0,1 0 0 0 0,0 0 0 0 0,0 0 1 0 0,1 0-1 0 0,2 5 0 0 0,-2-3 10 0 0,9 15-2 0 0,-9-15-25 0 0,-1-3 0 0 0,0 0 0 0 0,0 0 0 0 0,0 0 0 0 0,1 0 0 0 0,-1 0 0 0 0,0-1 0 0 0,1 1 0 0 0,-1 0-1 0 0,4 2 1 0 0,17 18-83 0 0,-17-17 54 0 0,-2-2-25 0 0,-1-1 0 0 0,1 1 0 0 0,0-1 0 0 0,6 4 0 0 0,-5-2-43 0 0,-2-2 20 0 0,0-1 1 0 0,0 1-1 0 0,0-1 1 0 0,0 1-1 0 0,0-1 0 0 0,0 0 1 0 0,0 0-1 0 0,3 1 1 0 0,21 10-1389 0 0,-22-10 1130 0 0,-2-1 85 0 0,-1 0 0 0 0,1 0 0 0 0,0 0 0 0 0,-1-1 0 0 0,1 1 0 0 0,0-1 0 0 0,0 1 0 0 0,3 0 0 0 0,-2 0-345 0 0,-1 0 253 0 0,-1-1 0 0 0,1 1 0 0 0,0-1 0 0 0,-1 0 0 0 0,1 1 0 0 0,-1-1 0 0 0,1 0 0 0 0,-1 0 0 0 0,4 0 0 0 0,-2 1-410 0 0,-1-1 456 0 0,-1 0 0 0 0,0 0 0 0 0,0 0 0 0 0,1 0 0 0 0,-1 0 0 0 0,0 0 0 0 0,1 0 0 0 0,-1 0 0 0 0,0 0 0 0 0,0-1 0 0 0,1 1 0 0 0,-1 0 0 0 0,1-1 0 0 0,3 0-462 0 0,-4 1 580 0 0,1 0 0 0 0,-1 0 0 0 0,0-1 0 0 0,1 1 0 0 0,-1-1 0 0 0,1 1 0 0 0,-1-1 0 0 0,0 1 0 0 0,0-1 0 0 0,1 0 0 0 0,-1 1 0 0 0,0-1 0 0 0,2-1 0 0 0,15-10 47 0 0</inkml:trace>
</inkml:ink>
</file>

<file path=ppt/ink/ink7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1.99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0 37 8 0 0,'0'0'10050'0'0,"1"-4"-9030"0"0,5-14 2008 0 0,6 16-1875 0 0,6-1-55 0 0,0 1-818 0 0,-14 1-8 0 0,1 1 3 0 0,24-5 322 0 0,-13 4-493 0 0,-12 0-37 0 0,0 2-27 0 0,11 0-27 0 0,-11 0-34 0 0,-3 3-150 0 0,6 12 52 0 0,-6-12-37 0 0,-3 0-48 0 0,-10 21-308 0 0,-4 3-91 0 0,14-22 506 0 0,1-4 52 0 0,0 0 0 0 0,0 1 0 0 0,0-1 0 0 0,-1 0 0 0 0,1 0 0 0 0,-1 0 0 0 0,1 0 0 0 0,-1 0 1 0 0,-2 2-1 0 0,-17 20-238 0 0,1 1 230 0 0,9-9 73 0 0,8-12 13 0 0,-1 1 19 0 0,-11 13 35 0 0,12-13 421 0 0,1-1-287 0 0,-7 12-5 0 0,7-12 822 0 0,7-1-862 0 0,11 6-24 0 0,-12-6-25 0 0,24-3 97 0 0,11 2-180 0 0,20 5-138 0 0,-49-5 70 0 0,16 4 7 0 0,-16-4 11 0 0,-8-2 2 0 0,0 0-1 0 0,0 0 1 0 0,0 1-1 0 0,0-1 1 0 0,0 1-1 0 0,1 0 1 0 0,-1 0-1 0 0,-1 0 1 0 0,5 2-1 0 0,9 5-43 0 0,-12-6-13 0 0,1 2-7 0 0,11 14-18 0 0,-11-9-8 0 0,-2-6 63 0 0,-2-2 19 0 0,1 0 1 0 0,-1 1-1 0 0,1-1 1 0 0,-1 0-1 0 0,0 0 1 0 0,0 0 0 0 0,1 1-1 0 0,-1-1 1 0 0,0 0-1 0 0,0 0 1 0 0,0 0-1 0 0,0 1 1 0 0,0-1 0 0 0,-1 1-1 0 0,1 3-25 0 0,0-3 21 0 0,0-1-1 0 0,0 1 1 0 0,0 0-1 0 0,0 0 1 0 0,0-1 0 0 0,-1 1-1 0 0,1 0 1 0 0,0-1-1 0 0,-1 1 1 0 0,-1 2 0 0 0,1 2-13 0 0,1-4 17 0 0,-1 0-1 0 0,1 1 1 0 0,-1-1-1 0 0,0 0 1 0 0,0 1-1 0 0,0-1 1 0 0,0 0-1 0 0,0 0 1 0 0,-2 2-1 0 0,0 3-6 0 0,1-3 9 0 0,0 0-1 0 0,0-1 1 0 0,0 1 0 0 0,-1 0-1 0 0,-4 4 1 0 0,2-2 4 0 0,-14 21 4 0 0,14-19 7 0 0,-15 20 27 0 0,16-21-25 0 0,-17 17 20 0 0,16-18-18 0 0,-13 15 3 0 0,4-7-24 0 0,-5 9-156 0 0,16-20-43 0 0,-22-49-16511 0 0</inkml:trace>
</inkml:ink>
</file>

<file path=ppt/ink/ink7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8.55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08 30 8 0 0,'-4'-4'751'0'0,"-14"-14"4341"0"0,13 16-4282 0 0,-11-3-69 0 0,12 4 468 0 0,-1 3-731 0 0,-13 4-60 0 0,14-4-39 0 0,-11 4 223 0 0,11-4-481 0 0,1 0 244 0 0,-2 0 17 0 0,-11 8 9 0 0,12-7-1 0 0,-1 0-4 0 0,-15 12-4 0 0,15-11-4 0 0,1-1-5 0 0,-14 12-9 0 0,13-11-1 0 0,0 0-16 0 0,-14 12-11 0 0,14-11-11 0 0,0 0-19 0 0,-15 14-20 0 0,15-14-23 0 0,0 0-28 0 0,-23 23 172 0 0,23-24-349 0 0,-13 13 204 0 0,-6 10-36 0 0,2 1-70 0 0,-1 2-82 0 0,-2 6-54 0 0,21-29-18 0 0,-23 33 21 0 0,-23 51 0 0 0,48-86-23 0 0,-76 185-49 0 0,64-150 31 0 0,2 1-1 0 0,-13 78 1 0 0,20-79-11 0 0,2 0 0 0 0,2 63-1 0 0,3-82 17 0 0,0-1 0 0 0,1 0 0 0 0,1 0-1 0 0,2-1 1 0 0,-1 0 0 0 0,2 1 0 0 0,10 19-1 0 0,-5-17 2 0 0,1-1 1 0 0,0-1-1 0 0,2-1 0 0 0,0 0 0 0 0,1-1 0 0 0,21 19 0 0 0,9 2-633 0 0,65 45 0 0 0,-79-63-446 0 0,63 29 0 0 0,-5-11-3575 0 0,-14-14-4040 0 0,-53-20 8207 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9.28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5 5 8 0 0,'-12'-4'6149'0'0,"11"6"-5939"0"0,1-1-88 0 0,-1 1 0 0 0,1-1 1 0 0,0 1-1 0 0,0 0 0 0 0,0-1 1 0 0,0 1-1 0 0,0-1 1 0 0,0 1-1 0 0,0 0 0 0 0,0-1 1 0 0,1 3-1 0 0,0-2 349 0 0,0 0 0 0 0,11 22 1434 0 0,-10-21-1437 0 0,1 0-17 0 0,63 69 2592 0 0,184 260-907 0 0,-38-52-2323 0 0,-205-272 136 0 0,1 0 0 0 0,-1 0 0 0 0,1-1 0 0 0,1 0-1 0 0,-1 0 1 0 0,1-1 0 0 0,0 0 0 0 0,0 0 0 0 0,11 4 0 0 0,25 4-594 0 0,-43-13 274 0 0</inkml:trace>
</inkml:ink>
</file>

<file path=ppt/ink/ink8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09.07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22 8 8 0 0,'0'0'1316'0'0,"-4"-1"341"0"0,-1-1-1112 0 0,-4-2-80 0 0,-4 3 2830 0 0,-3 1-2435 0 0,11 0-47 0 0,1 1-63 0 0,0-1-511 0 0,2 0-81 0 0,0 0 0 0 0,0 0 0 0 0,0 0 0 0 0,0 0 0 0 0,0 1 0 0 0,0-1 0 0 0,0 0 0 0 0,-2 2 0 0 0,0 0-43 0 0,3-1-68 0 0,-1-1-1 0 0,1 1 1 0 0,-1-1-1 0 0,1 1 1 0 0,0-1-1 0 0,-1 1 1 0 0,1-1-1 0 0,-1 0 1 0 0,-2 0 0 0 0,0 4 125 0 0,-14 9-52 0 0,13-10-42 0 0,1 1-14 0 0,-2 0-44 0 0,3-2-5 0 0,1 0 0 0 0,0 0 0 0 0,-1 0 0 0 0,1 0 0 0 0,0 0 0 0 0,0 1 0 0 0,-2 2 0 0 0,0-1 16 0 0,3-2-11 0 0,-1-1 0 0 0,1 1 0 0 0,0-1 0 0 0,-1 1 0 0 0,1 0 0 0 0,0 0 0 0 0,0 0 0 0 0,-1 3 0 0 0,-11 20 276 0 0,5-7-49 0 0,6-9 38 0 0,1-3-186 0 0,0 19 412 0 0,0-18-420 0 0,1-4-30 0 0,-1 0 0 0 0,1 0 0 0 0,0 1-1 0 0,1-1 1 0 0,-1 0 0 0 0,1 5 0 0 0,5 25 441 0 0,25 91 514 0 0,-27-110-910 0 0,9 24 251 0 0,4 2-81 0 0,-15-33-228 0 0,-1-4-13 0 0,0 0 1 0 0,1 1 0 0 0,-1-1 0 0 0,0 0 0 0 0,1 0 0 0 0,3 4-1 0 0,7 12 129 0 0,-6-12-5 0 0,-2-4-112 0 0,-3-1-30 0 0,0-1-1 0 0,0 0 0 0 0,0 0 1 0 0,1 0-1 0 0,-1 0 0 0 0,0 0 1 0 0,1 0-1 0 0,-1 0 1 0 0,0-1-1 0 0,1 1 0 0 0,-1 0 1 0 0,3 0-1 0 0,0 1 22 0 0,-3-1-22 0 0,0 0 0 0 0,1 0 0 0 0,-1-1 0 0 0,0 1-1 0 0,1-1 1 0 0,-1 1 0 0 0,1-1 0 0 0,-1 1 0 0 0,1-1 0 0 0,-1 0 0 0 0,1 0-1 0 0,2 1 1 0 0,14 0 130 0 0,-9-2-2 0 0,9-4-12 0 0,-9 1-24 0 0,-4 2-77 0 0,-3 1-17 0 0,0 0-1 0 0,-1 0 0 0 0,1 0 0 0 0,0-1 0 0 0,0 1 0 0 0,-1 0 0 0 0,1-1 0 0 0,-1 1 0 0 0,1-1 1 0 0,0-2-1 0 0,15-14 60 0 0,-10 7-2 0 0,14-34 1 0 0,-3 0 0 0 0,-2-2 0 0 0,20-90 0 0 0,-34 126-100 0 0,-1 8 7 0 0,0-1-1 0 0,0 0 1 0 0,-1 1 0 0 0,0-1-1 0 0,1 0 1 0 0,-1 0 0 0 0,-1 0-1 0 0,1 0 1 0 0,-2-6-1 0 0,-3-15-67 0 0,5 24 86 0 0,0 0-1 0 0,0 0 1 0 0,0 0-1 0 0,-1 1 1 0 0,1-1-1 0 0,0 0 1 0 0,-1 0-1 0 0,1 0 1 0 0,0 0-1 0 0,-1 1 1 0 0,1-1-1 0 0,-2-1 1 0 0,-12-19-36 0 0,13 20 36 0 0,1 1 1 0 0,-1-1-1 0 0,1 0 1 0 0,-1 0-1 0 0,0 1 1 0 0,1-1-1 0 0,-1 1 0 0 0,0-1 1 0 0,1 0-1 0 0,-1 1 1 0 0,0-1-1 0 0,1 1 1 0 0,-3-1-1 0 0,-10-6-6 0 0,-1 0 0 0 0,1 1 1 0 0,-2 0-1 0 0,-14-3 0 0 0,8 4-4 0 0,-1 2 0 0 0,1 1 0 0 0,-1 0 0 0 0,-29 3 0 0 0,37 0-18 0 0,0 1 1 0 0,0 0-1 0 0,1 1 1 0 0,-1 1-1 0 0,1 0 1 0 0,0 1-1 0 0,-24 12 1 0 0,29-14-3 0 0,6-2 13 0 0,0 0 0 0 0,1 0 0 0 0,-1 0 0 0 0,0 0 0 0 0,0 0 0 0 0,0 1 0 0 0,0-1 0 0 0,1 0-1 0 0,-1 1 1 0 0,-2 3 0 0 0,-17 16-178 0 0,20-20 171 0 0,0 0 0 0 0,0 0 1 0 0,0 0-1 0 0,0 0 1 0 0,0 0-1 0 0,0 0 1 0 0,1 1-1 0 0,-2 0 1 0 0,-11 23-342 0 0,9-13-203 0 0,-1 13-321 0 0,4-13-505 0 0,5 13-682 0 0,-4-24 1823 0 0,0 0 0 0 0,0 0 0 0 0,0 0 0 0 0,0 0 0 0 0,1 0 0 0 0,-1-1 0 0 0,0 1 0 0 0,1 0 0 0 0,-1 0 0 0 0,0 0 0 0 0,2 1 0 0 0,11 21-3959 0 0,-13-22 3897 0 0,1-1 0 0 0,-1 1-1 0 0,1 0 1 0 0,-1 0 0 0 0,7 5-2229 0 0,22 14 1571 0 0</inkml:trace>
</inkml:ink>
</file>

<file path=ppt/ink/ink8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0.14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45 1 8 0 0,'-27'17'0'0'0,"0"3"41"0"0,4-4 361 0 0,19-13 819 0 0,0 1 206 0 0,-11 9 50 0 0,11-10 35 0 0,1 0-2 0 0,-1 0-933 0 0,-3 2-88 0 0,-4 0 3762 0 0,-4-2 6 0 0,19-6-4113 0 0,15-11 580 0 0,-14 10-577 0 0,-3 3-64 0 0,0-1 0 0 0,0 0 0 0 0,0 1 0 0 0,0 0 0 0 0,1-1 0 0 0,-1 1 0 0 0,0 0-1 0 0,5-1 1 0 0,12-5 177 0 0,0 1-1 0 0,1 1 1 0 0,0 0-1 0 0,24-1 1 0 0,2 4-86 0 0,0 3 1 0 0,0 1-1 0 0,0 3 1 0 0,51 11-1 0 0,175 57-159 0 0,-208-54-33 0 0,81 28-106 0 0,-129-41 46 0 0,0 2 28 0 0,-3-1-60 0 0,5 3-17 0 0,-13-8-13 0 0,-1 1-29 0 0,12 9-38 0 0,-12-9-40 0 0,1-28-9447 0 0,-5 24 9532 0 0,0 1-1 0 0,0-1 0 0 0,0 1 1 0 0,0-1-1 0 0,0 0 0 0 0,0 1 1 0 0,0-1-1 0 0,0 1 1 0 0,0-1-1 0 0,0 0 0 0 0,0 1 1 0 0,0-1-1 0 0,-1 1 1 0 0,1-2-1 0 0,-2-4-718 0 0,-7-19-3673 0 0,-4-6 2641 0 0,-1-7 1554 0 0,7 12 359 0 0</inkml:trace>
</inkml:ink>
</file>

<file path=ppt/ink/ink8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0.47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0 15 8 0 0,'-25'-10'0'0'0,"3"6"169"0"0,18 4 724 0 0,0 2 349 0 0,-17 8 2439 0 0,19-6-2568 0 0,-11 17 1895 0 0,12-17-2141 0 0,-6 12-76 0 0,5-12-52 0 0,1 1-62 0 0,-2 1-466 0 0,2-4-72 0 0,0 1 0 0 0,0 0 0 0 0,0-1 0 0 0,0 1 0 0 0,1 0 0 0 0,-1 5 0 0 0,-5 22 726 0 0,-1 5-296 0 0,0 5-164 0 0,-2 2-215 0 0,-10 67 87 0 0,10 5-330 0 0,7 157 0 0 0,17-47-78 0 0,19-6-1970 0 0,-30-210 1427 0 0,9 10-163 0 0,-13-18 768 0 0,1 1 0 0 0,-1-1 0 0 0,0 1 0 0 0,1-1 0 0 0,-1 0 0 0 0,0 1 0 0 0,1-1 0 0 0,-1 1 0 0 0,0-1-1 0 0,1 0 1 0 0,-1 1 0 0 0,1-1 0 0 0,-1 0 0 0 0,1 0 0 0 0,0 1 0 0 0,14 6-1423 0 0,-15-7 1364 0 0,1 0 0 0 0,-1 0 0 0 0,1 0 0 0 0,-1 1 0 0 0,1-1 0 0 0,-1 0 0 0 0,1 0 1 0 0,-1 0-1 0 0,1 0 0 0 0,-1 0 0 0 0,0 0 0 0 0,1 0 0 0 0,-1 0 0 0 0,1 0 1 0 0,0 0-1 0 0,17-2-2593 0 0,-9-1-267 0 0,14-9 519 0 0</inkml:trace>
</inkml:ink>
</file>

<file path=ppt/ink/ink8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1.92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6 319 8 0 0,'-2'-9'78'0'0,"-4"-17"856"0"0,5 22-728 0 0,-1-9 625 0 0,0-1 0 0 0,1-14 0 0 0,1-27 1711 0 0,0 51-2277 0 0,0 0-1 0 0,0-1 0 0 0,0 1 1 0 0,-2-7-1 0 0,-2-14 1243 0 0,-1-13 509 0 0,5 32-1714 0 0,0 4-149 0 0,0-1-1 0 0,-1 1 1 0 0,1-1 0 0 0,0 1 0 0 0,-1 0 0 0 0,0-1 0 0 0,1 1 0 0 0,-3-4 0 0 0,-3-12 518 0 0,4 14 349 0 0,-1-1-650 0 0,-8-11-88 0 0,8 12 77 0 0,-1 7-351 0 0,1-1-11 0 0,0 0 1 0 0,1 1-1 0 0,-1-1 0 0 0,-2 5 1 0 0,1-3 1 0 0,3-2 2 0 0,0 0 0 0 0,-1 0 0 0 0,1 0-1 0 0,0 0 1 0 0,1 0 0 0 0,-1 0 0 0 0,0 1 0 0 0,0-1 0 0 0,1 0-1 0 0,0 0 1 0 0,-1 4 0 0 0,-8 42 152 0 0,-4 92 0 0 0,10 60-51 0 0,3-191-117 0 0,13 287-88 0 0,16-1 22 0 0,-27-271 81 0 0,118 682-86 0 0,-84-538 375 0 0,-34-162-266 0 0,-2-5-18 0 0,0 1-1 0 0,0-1 1 0 0,0 0 0 0 0,1 1 0 0 0,-1-1 0 0 0,1 1-1 0 0,-1-1 1 0 0,2 3 0 0 0,0-1-3 0 0,-1 1-42 0 0,-3-8-455 0 0,-8-25-925 0 0,7 22 1062 0 0,-6-21-1995 0 0,-23-101-8943 0 0,26 102 11296 0 0</inkml:trace>
</inkml:ink>
</file>

<file path=ppt/ink/ink8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2.27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19 94 640 0 0,'-34'-5'4101'0'0,"26"3"-3471"0"0,3 1-95 0 0,0 0-1 0 0,0 1 1 0 0,0-1 0 0 0,-6 1-1 0 0,-9 0 2680 0 0,15-1-2275 0 0,-15-7 2697 0 0,24 6-3093 0 0,0-1-371 0 0,-2 1-90 0 0,0 1 0 0 0,0 0 0 0 0,0 0 0 0 0,0 0 0 0 0,-1 1 0 0 0,1-1 0 0 0,1 0 0 0 0,-1 1 0 0 0,3-1 0 0 0,72-18 340 0 0,1 4 1 0 0,1 3 0 0 0,126-2-1 0 0,-134 14-1255 0 0,0 3 0 0 0,84 16 1 0 0,-69 0-3310 0 0,-67-13 874 0 0,-1 1 1 0 0,25 12-1 0 0,-18-6 661 0 0</inkml:trace>
</inkml:ink>
</file>

<file path=ppt/ink/ink8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2.60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03 1 8 0 0,'0'0'652'0'0,"-4"1"550"0"0,-11 6-97 0 0,12-5-361 0 0,1 2-179 0 0,-8 23 456 0 0,0 1 98 0 0,9-22-926 0 0,-8 18 752 0 0,-6 10 140 0 0,3-3-99 0 0,4-11 2480 0 0,12-24-3350 0 0,11-16-19 0 0,-14 18-85 0 0,0 1 0 0 0,1-1 0 0 0,-1 0 0 0 0,0 0 0 0 0,0 1 0 0 0,0-1-1 0 0,0 0 1 0 0,0 0 0 0 0,1-4 0 0 0,0 0 7 0 0,5-14 41 0 0,-6 15-51 0 0,0 1 27 0 0,0-1 1 0 0,4-14-6 0 0,-4 14 10 0 0,-1 1-7 0 0,0-17 143 0 0,-3 18-140 0 0,-12-8-6 0 0,11 8 92 0 0,0 5-10 0 0,-10 6 42 0 0,10-6 23 0 0,2 2 28 0 0,-4 11 18 0 0,4-12 15 0 0,1 2 3 0 0,-3 24 194 0 0,3-25-378 0 0,0-3-39 0 0,1 0 0 0 0,0 1 0 0 0,-1-1-1 0 0,1 0 1 0 0,0 1 0 0 0,0-1 0 0 0,0 0 0 0 0,0 1 0 0 0,0-1-1 0 0,0 0 1 0 0,0 0 0 0 0,1 1 0 0 0,0 1 0 0 0,-1 1 19 0 0,0-3-28 0 0,0 1 1 0 0,0-1-1 0 0,0 0 0 0 0,0 0 0 0 0,1 1 0 0 0,-1-1 0 0 0,0 0 0 0 0,1 0 0 0 0,-1 0 0 0 0,1 1 0 0 0,-1-1 0 0 0,1 0 0 0 0,0 0 0 0 0,1 2 0 0 0,9 16-37 0 0,-8-14-81 0 0,1 0-154 0 0,12 13-285 0 0,-11-14-452 0 0,0 0-692 0 0,14 11-1051 0 0,-7-7-2529 0 0,-3-5 3630 0 0,-4-2 499 0 0</inkml:trace>
</inkml:ink>
</file>

<file path=ppt/ink/ink8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4.350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95 77 8 0 0,'-15'-29'0'0'0,"1"6"132"0"0,11 19 1510 0 0,-2 1-686 0 0,-15-7-73 0 0,16 8-76 0 0,-1 1-81 0 0,0-1-509 0 0,3 2-129 0 0,0-1 0 0 0,0 1 1 0 0,1-1-1 0 0,-1 1 0 0 0,0 0 1 0 0,0 0-1 0 0,1-1 0 0 0,-1 1 1 0 0,0 1-1 0 0,0-1 0 0 0,-2 0 1 0 0,-21 3 1099 0 0,0 0-141 0 0,-2 2-162 0 0,0 0-98 0 0,-1-1-40 0 0,23-3-622 0 0,2-1-36 0 0,0 0 0 0 0,0 1-1 0 0,1-1 1 0 0,-1 1 0 0 0,0 0 0 0 0,-4 1 0 0 0,-23 8 596 0 0,-3 0-118 0 0,27-8-497 0 0,2-1-31 0 0,1 0 1 0 0,-1 0-1 0 0,1 0 0 0 0,0 1 1 0 0,0-1-1 0 0,-5 3 1 0 0,-25 15 192 0 0,25-15-195 0 0,-24 15 138 0 0,-43 28 33 0 0,69-43-191 0 0,0 0 1 0 0,0 0-1 0 0,-7 8 0 0 0,5-5-6 0 0,-5 5 13 0 0,-4 7-20 0 0,1 0 0 0 0,1 1 0 0 0,-17 29 0 0 0,22-27-7 0 0,1-1 0 0 0,0 1 1 0 0,2 1-1 0 0,1-1 0 0 0,0 1 1 0 0,-2 30-1 0 0,3 5-34 0 0,4 78-1 0 0,4-75-34 0 0,19 104 0 0 0,32 56-466 0 0,-47-195 297 0 0,1-1 1 0 0,2-1-1 0 0,21 43 1 0 0,-25-59 173 0 0,-1 0 1 0 0,1 0 0 0 0,0 0-1 0 0,1-1 1 0 0,11 11 0 0 0,-13-14 53 0 0,1 0 1 0 0,-1 0-1 0 0,1-1 1 0 0,-1 0-1 0 0,1 0 1 0 0,0 0 0 0 0,0-1-1 0 0,1 0 1 0 0,8 2-1 0 0,2-1-280 0 0,0-1-1 0 0,1 0 0 0 0,-1-2 1 0 0,0 0-1 0 0,27-4 0 0 0,-26 2-1155 0 0,0-2-1 0 0,0 0 0 0 0,-1-1 1 0 0,1-1-1 0 0,17-9 1 0 0,-19 7 712 0 0,28-19 0 0 0,-15 5 737 0 0</inkml:trace>
</inkml:ink>
</file>

<file path=ppt/ink/ink8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14.95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68 69 8 0 0,'-53'-15'7014'0'0,"23"5"-4410"0"0,25 8-1693 0 0,0 1-142 0 0,-15-6-70 0 0,15 5-76 0 0,1 0-82 0 0,-23-10 805 0 0,9 2 695 0 0,22 9-1985 0 0,14-4-2 0 0,-17 4-51 0 0,-1 1-1 0 0,1 0 1 0 0,-1 0-1 0 0,1 0 1 0 0,-1 0-1 0 0,1 0 0 0 0,-1 0 1 0 0,1 0-1 0 0,-1 0 1 0 0,1 0-1 0 0,-1 0 1 0 0,1 0-1 0 0,-1 0 1 0 0,1 0-1 0 0,-1 0 1 0 0,1 1-1 0 0,-1-1 1 0 0,1 0-1 0 0,0 0 1 0 0,249 82 117 0 0,-221-72-101 0 0,-1 1 1 0 0,1 1-1 0 0,-2 1 0 0 0,31 21 1 0 0,-47-26-11 0 0,5 10 15 0 0,-15-17-21 0 0,-1 0 0 0 0,1-1 0 0 0,0 1 0 0 0,-1 0 0 0 0,1 0 0 0 0,-1-1 0 0 0,1 1 0 0 0,-1 0 0 0 0,0 0 0 0 0,1-1 0 0 0,-1 3 0 0 0,9 20 32 0 0,-7-11 2 0 0,0 14-5 0 0,-3-12-6 0 0,-5 13-7 0 0,-1-1 0 0 0,-21 49 0 0 0,9-36 92 0 0,-2-1 0 0 0,-2-2 0 0 0,-1 0 0 0 0,-1-1 0 0 0,-52 52-1 0 0,53-63 12 0 0,7-8 187 0 0,-17 22 1 0 0,3 1 115 0 0,15-18-282 0 0,14-20-132 0 0,1 1 0 0 0,0 0 0 0 0,0-1 0 0 0,-1 1 0 0 0,1 0 0 0 0,0 0 0 0 0,0-1 0 0 0,1 1 0 0 0,-1 0 0 0 0,-1 4 0 0 0,1-1 2 0 0,-2 4 13 0 0,3 7-9 0 0,3-8-4 0 0,5 9-7 0 0,-2-10 6 0 0,10 8-6 0 0,-5-8-10 0 0,9 3-75 0 0,0-1-1 0 0,1-2 0 0 0,1 0 1 0 0,-1-1-1 0 0,1-1 0 0 0,0-1 0 0 0,0 0 1 0 0,38-1-1 0 0,-18-4-2695 0 0,74-10 0 0 0,-81 4-3413 0 0,34-10 1 0 0,-40 7 5464 0 0</inkml:trace>
</inkml:ink>
</file>

<file path=ppt/ink/ink8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1.94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0 1 8 0 0,'-23'5'52'0'0,"-25"12"12399"0"0,44-19-12273 0 0,-11-4-14 0 0,12 4 386 0 0,-1 0-506 0 0,-11-6-16 0 0,11 6 303 0 0,1 4-245 0 0,-12 10 10 0 0,11-9 139 0 0,2 1-87 0 0,-8 14 7 0 0,7-13 11 0 0,1-1 5 0 0,-8 14-15 0 0,8-13-8 0 0,-1 0-18 0 0,-11 26 72 0 0,1-6-42 0 0,-2 3-9 0 0,0 2-14 0 0,12-23-115 0 0,-8 22 92 0 0,-41 105 150 0 0,-62 253-218 0 0,97-321-6 0 0,-46 218 708 0 0,26 4 319 0 0,32-186-634 0 0,4 0 0 0 0,15 114-1 0 0,-3-137-341 0 0,3 0-1 0 0,3 0 1 0 0,34 93-1 0 0,-25-101-46 0 0,4-2-1 0 0,2 0 0 0 0,72 111 1 0 0,-24-70-44 0 0,101 105 1 0 0,-151-182 54 0 0,3-1 1 0 0,0-2-1 0 0,2-2 0 0 0,1-1 1 0 0,41 23-1 0 0,-52-37-489 0 0,32 12 0 0 0,-55-24 354 0 0,0 0 0 0 0,0 0 0 0 0,1-1 0 0 0,-1 1 0 0 0,1 0 0 0 0,-1-1 0 0 0,0 1 0 0 0,1-1 1 0 0,3 0-1 0 0,0 0-128 0 0,14 1-1376 0 0,-16-1 1150 0 0,20-8-7287 0 0,-10-18-1072 0 0</inkml:trace>
</inkml:ink>
</file>

<file path=ppt/ink/ink8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2.4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534 2 8 0 0,'-5'0'939'0'0,"-14"-2"588"0"0,9 3-13 0 0,5 0-1087 0 0,3-1-263 0 0,0 0 0 0 0,1 1 0 0 0,-1-1 0 0 0,0 0 1 0 0,0 1-1 0 0,1 0 0 0 0,-1-1 0 0 0,0 1 0 0 0,1 0 0 0 0,-3 1 0 0 0,-11 7 668 0 0,11-7-90 0 0,-1 1-85 0 0,-16 10-59 0 0,15-10-92 0 0,1 3-91 0 0,-16 17-87 0 0,12-12-56 0 0,-11 23 148 0 0,-181 371 365 0 0,100-108 933 0 0,82-221-988 0 0,3 1 0 0 0,-5 79 0 0 0,13-59 145 0 0,7 131 0 0 0,4-179-748 0 0,3 1-1 0 0,1-1 0 0 0,3 0 1 0 0,25 72-1 0 0,-11-59-102 0 0,2-1 1 0 0,4-2-1 0 0,1 0 0 0 0,64 85 1 0 0,-77-120-30 0 0,1-1 0 0 0,26 26 1 0 0,-33-39-97 0 0,-1 0 0 0 0,2 0 0 0 0,-1-1 0 0 0,1-1 1 0 0,28 14-1 0 0,-30-18-370 0 0,22 5 0 0 0,-23-9-216 0 0,14-3-258 0 0,-12-1-457 0 0,11-5-745 0 0,-12 2-1018 0 0,11-9-867 0 0,-12 6 500 0 0,12-19 2824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2:49.613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7 668 8 0 0,'-13'-2'0'0'0,"-2"-1"1511"0"0,15 2-1328 0 0,0 0 1 0 0,-1 0-1 0 0,1 0 0 0 0,0 0 1 0 0,0 0-1 0 0,-1 1 0 0 0,1-1 0 0 0,-1 0 1 0 0,1 0-1 0 0,-1 0 0 0 0,1 1 1 0 0,-2-2-1 0 0,1 0 241 0 0,1 2-374 0 0,0 0 1 0 0,0 0-1 0 0,0-1 0 0 0,-1 1 0 0 0,1 0 0 0 0,0 0 1 0 0,0 0-1 0 0,0 0 0 0 0,0-1 0 0 0,0 1 0 0 0,0 0 1 0 0,0 0-1 0 0,0 0 0 0 0,0-1 0 0 0,0 1 0 0 0,0 0 1 0 0,0 0-1 0 0,0 0 0 0 0,0 0 0 0 0,0-1 0 0 0,0 1 1 0 0,0 0-1 0 0,0 0 0 0 0,0 0 0 0 0,0 0 0 0 0,0-1 1 0 0,1 1-1 0 0,10-25 1807 0 0,1 2 0 0 0,1-1 1 0 0,19-25-1 0 0,56-64 95 0 0,-26 41-1259 0 0,74-66 0 0 0,-24 46-1853 0 0,8 13-4773 0 0,-110 73 2976 0 0,0 0 0 0 0,22-7 0 0 0,-17 9 2430 0 0</inkml:trace>
</inkml:ink>
</file>

<file path=ppt/ink/ink9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2.88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87 838 672 0 0,'-8'4'1022'0'0,"-12"12"3241"0"0,-3 3-2112 0 0,14-10-517 0 0,-2 8-391 0 0,8-13-312 0 0,1 0-164 0 0,-9 14 1879 0 0,15-21-2292 0 0,11-8-64 0 0,-9 3-108 0 0,13-20 28 0 0,128-233 593 0 0,-49 77-273 0 0,57-50-183 0 0,-150 227-335 0 0,40-51 68 0 0,17-26 10 0 0,-41 56-85 0 0,-3 9-20 0 0,-14 15-13 0 0,-4 13-34 0 0,-2 7 34 0 0,0-7 1 0 0,-26 105-29 0 0,13-59 85 0 0,14-50-26 0 0,-62 271 370 0 0,7 179 154 0 0,54-399-1444 0 0,6 60-1 0 0,-4-111 100 0 0,2 0-235 0 0,6 11-339 0 0</inkml:trace>
</inkml:ink>
</file>

<file path=ppt/ink/ink9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3.264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2 28 8 0 0,'-4'-1'2127'0'0,"-17"-3"1775"0"0,20 4-3721 0 0,0 1-1 0 0,0-1 0 0 0,0 0 0 0 0,0 0 1 0 0,0 0-1 0 0,0 0 0 0 0,0 0 0 0 0,0 0 1 0 0,0 0-1 0 0,-2 0 0 0 0,-9-1 4844 0 0,9-2-4274 0 0,-16-11 2544 0 0,20 14-3272 0 0,0 0 1 0 0,0 0 0 0 0,-1 0 0 0 0,1 0-1 0 0,0 0 1 0 0,0 0 0 0 0,0-1 0 0 0,-1 1-1 0 0,1 0 1 0 0,0 0 0 0 0,0-1 0 0 0,0 0-1 0 0,0 1-3 0 0,0-1-1 0 0,0 1 0 0 0,0 0 0 0 0,0-1 1 0 0,0 1-1 0 0,0 0 0 0 0,0 0 1 0 0,0 0-1 0 0,0 0 0 0 0,0-1 0 0 0,0 1 1 0 0,0 1-1 0 0,0-1 0 0 0,0 0 1 0 0,2 0-1 0 0,1 1 43 0 0,15 0 250 0 0,-13-1-252 0 0,-3 0-11 0 0,1-1 1 0 0,-1 1 0 0 0,1 1-1 0 0,-1-1 1 0 0,5 1 0 0 0,18 2 89 0 0,72 11 357 0 0,-73-9-424 0 0,45 11 61 0 0,-43-7-116 0 0,-5 3-10 0 0,-18-10-11 0 0,0 2-2 0 0,10 10 3 0 0,-10-10-9 0 0,-2 0-27 0 0,4 13 15 0 0,-4-13-7 0 0,-4-4-140 0 0,0 1 153 0 0,1-1 1 0 0,-1 1-1 0 0,0 0 1 0 0,0 0-1 0 0,1 0 1 0 0,-3 1-1 0 0,0 1-14 0 0,-1-1-72 0 0,1-3-7 0 0,0 1 67 0 0,2 0 19 0 0,1 0 0 0 0,0 0 1 0 0,-1 0-1 0 0,1 0 0 0 0,-1-1 0 0 0,1 1 1 0 0,-1 0-1 0 0,1-1 0 0 0,0 1 0 0 0,-1-1 0 0 0,1 0 1 0 0,0 1-1 0 0,-3-3 0 0 0,-26-13-449 0 0,13 8 101 0 0,13 6-150 0 0,-1-2-207 0 0,-2-1 426 0 0,-17-14-1708 0 0,20 15 1440 0 0,-14-12-3338 0 0,14 13 2823 0 0,-4-3-339 0 0,-2-6-3106 0 0,-6-8 2322 0 0</inkml:trace>
</inkml:ink>
</file>

<file path=ppt/ink/ink9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3.635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75 32 8 0 0,'4'-32'18312'0'0,"-6"40"-21030"0"0,-3 10 3624 0 0,2 1-188 0 0,1-13-574 0 0,1-2-15 0 0,0 0 1 0 0,0 0-1 0 0,0 0 1 0 0,0 8-1 0 0,-22 243 1513 0 0,-10 84-1594 0 0,10-145-95 0 0,-13 92 169 0 0,5-90-265 0 0,19-154 195 0 0,8-27-1416 0 0,5-37-250 0 0,3-15-3675 0 0,-3 21 471 0 0,-1 8 3467 0 0,3-5-2976 0 0,3-13 3407 0 0</inkml:trace>
</inkml:ink>
</file>

<file path=ppt/ink/ink9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3.96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2 140 704 0 0,'0'0'4136'0'0,"-3"1"-2707"0"0,-16 3 6181 0 0,20-4-7539 0 0,0 0-1 0 0,0 0 1 0 0,0 1-1 0 0,0-1 1 0 0,-1 0 0 0 0,1 0-1 0 0,0 1 1 0 0,0-1-1 0 0,-1 1 1 0 0,1-1-1 0 0,0 1 1 0 0,0-1 0 0 0,-1 1-1 0 0,2 1 1 0 0,-1-2-14 0 0,0 1 1 0 0,0 0 0 0 0,-1 0-1 0 0,1 0 1 0 0,0-1-1 0 0,0 1 1 0 0,1-1 0 0 0,-1 1-1 0 0,0-1 1 0 0,0 1-1 0 0,0-1 1 0 0,0 1 0 0 0,0-1-1 0 0,0 0 1 0 0,2 0-1 0 0,1 2 131 0 0,15 1 697 0 0,10 0 31 0 0,-4-1-447 0 0,0-1 0 0 0,0-1 0 0 0,0-1 1 0 0,0-1-1 0 0,44-9 0 0 0,81-18 623 0 0,-70 13-842 0 0,137-32-58 0 0,-20-10-2637 0 0,-195 57 2081 0 0,1 0 0 0 0,0 0 0 0 0,0 1 0 0 0,-1-1 1 0 0,1 0-1 0 0,4 1 0 0 0,-2-1-351 0 0</inkml:trace>
</inkml:ink>
</file>

<file path=ppt/ink/ink9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44.88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9 3 8 0 0,'-3'-1'5'0'0,"-1"0"0"0"0,1 1-1 0 0,-1-1 1 0 0,-6 1 0 0 0,-9 6 196 0 0,15-5 990 0 0,2 3-565 0 0,-8 11-63 0 0,8-11 458 0 0,0-1-526 0 0,-3 12 5 0 0,4-11 27 0 0,1 0 50 0 0,0 10 35 0 0,0-10 47 0 0,1 0 53 0 0,4 13 27 0 0,-3-13 28 0 0,0 0 14 0 0,0 0-507 0 0,-1-2-32 0 0,0-1-1 0 0,0 1 0 0 0,0-1 1 0 0,0 1-1 0 0,0 0 0 0 0,-1 0 1 0 0,2 2-1 0 0,2 0 459 0 0,12 13-36 0 0,-12-13-44 0 0,1-1-60 0 0,0 1-390 0 0,-3-2-61 0 0,0 0 0 0 0,1 0 0 0 0,-1 0 0 0 0,0 0 1 0 0,1-1-1 0 0,5 3 0 0 0,16 8 625 0 0,1 1-192 0 0,-19-11-469 0 0,15 11 256 0 0,4 5-36 0 0,-19-14-252 0 0,-3-2-15 0 0,0 0 1 0 0,0 0-1 0 0,0 1 0 0 0,-1-1 0 0 0,1 1 0 0 0,2 3 0 0 0,25 26 128 0 0,1 4-56 0 0,-1 2 0 0 0,-2 0 0 0 0,45 85 0 0 0,-48-74-95 0 0,-3 1 1 0 0,-2 1 0 0 0,19 74-1 0 0,-12-9-197 0 0,-5 1 0 0 0,7 125-1 0 0,-27-185 86 0 0,-3 1 0 0 0,-2-1 0 0 0,-2 0 0 0 0,-17 71-1 0 0,-75 220-689 0 0,12-129 395 0 0,65-178 473 0 0,-1 0-1 0 0,-3-2 0 0 0,-29 38 0 0 0,44-68 36 0 0,2-3-65 0 0,1-1 33 0 0,0 0 0 0 0,-11 7 0 0 0,-3 1 68 0 0,20-13-132 0 0,-1 1 0 0 0,1-1 0 0 0,-1 0 0 0 0,1 1 0 0 0,-1-1-1 0 0,1 0 1 0 0,-1 1 0 0 0,1-1 0 0 0,-1 0 0 0 0,1 0 0 0 0,-1 0 0 0 0,0 0 0 0 0,1 1 0 0 0,-1-1 0 0 0,0 0 0 0 0,-17 1 96 0 0,9-2-24 0 0,-7-5-26 0 0,12 4-30 0 0,0-2-33 0 0,-9-11-51 0 0,10 12-101 0 0,2-2-131 0 0,-1 1 149 0 0,1 2 41 0 0,1 1 0 0 0,-1-1 0 0 0,0 0 0 0 0,1 1 0 0 0,0-1 0 0 0,-1 1 0 0 0,1-1 0 0 0,0 0 0 0 0,0-1 0 0 0,2-15-1657 0 0,0 13 1315 0 0,-1 0-1195 0 0,11-17-3319 0 0,17-2-1819 0 0</inkml:trace>
</inkml:ink>
</file>

<file path=ppt/ink/ink9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2.017"/>
    </inkml:context>
    <inkml:brush xml:id="br0">
      <inkml:brushProperty name="width" value="0.1" units="cm"/>
      <inkml:brushProperty name="height" value="0.1" units="cm"/>
    </inkml:brush>
  </inkml:definitions>
  <inkml:trace contextRef="#ctx0" brushRef="#br0">77 6 8 0 0,'-18'-4'41'0'0,"14"3"1086"0"0,0 2-325 0 0,-18 7 1890 0 0,7-2-2314 0 0,12-4 441 0 0,1 2-590 0 0,-5 11 0 0 0,6-12 936 0 0,1 1-756 0 0,0 13 56 0 0,0-13 1092 0 0,0 0-1109 0 0,2 10-24 0 0,-2-10 291 0 0,2 0-427 0 0,4 13-76 0 0,-4-13 67 0 0,1 1-174 0 0,11 14-16 0 0,-11-14-10 0 0,0-1-12 0 0,8 13-3 0 0,-8-13 46 0 0,1-1-70 0 0,13 10-4 0 0,-13-9 59 0 0,-1-3-39 0 0,12 6 5 0 0,-11-6 51 0 0,0-2-68 0 0,10-6-30 0 0,-10 6-49 0 0,0-3-212 0 0,11-13 43 0 0,-12 13-37 0 0,-3 3 220 0 0,0 1-1 0 0,0-1 1 0 0,0 1 0 0 0,0-1-1 0 0,0 0 1 0 0,0 1 0 0 0,1-1-1 0 0,-1 0 1 0 0,0 1 0 0 0,0-1-1 0 0,0 1 1 0 0,1-1 0 0 0,-1 1-1 0 0,0-1 1 0 0,1 1 0 0 0,-1-1-1 0 0,1 0 1 0 0,-1 0-25 0 0,1 0 1 0 0,-1 1-1 0 0,1-1 0 0 0,-1 0 0 0 0,0 1 1 0 0,1-1-1 0 0,-1 0 0 0 0,0 0 1 0 0,1 0-1 0 0,-1 1 0 0 0,0-1 0 0 0,0 0 1 0 0,0 0-1 0 0,0 0 0 0 0,0 0 0 0 0,0 1 1 0 0,0-1-1 0 0,0 0 0 0 0,0 0 0 0 0,-1-1 1 0 0,0-14-109 0 0,0 12 50 0 0,-3 2-77 0 0,-10-2 122 0 0,10 2 5 0 0,0 4 10 0 0,-1-2 35 0 0,3 1 6 0 0,0-1 0 0 0,0 1 0 0 0,-1 0 0 0 0,1-1 0 0 0,0 1-1 0 0,0 0 1 0 0,-3 2 0 0 0,-11 5 18 0 0,12-6 14 0 0,-1 0 9 0 0,-15 8 19 0 0,15-7 2 0 0,1-1 6 0 0,-12 8 11 0 0,12-7 243 0 0,0 1-250 0 0,-9 12 8 0 0,10-12 450 0 0,6-3-440 0 0,12 4-11 0 0,-11-3 116 0 0,0-7-145 0 0,13-13-6 0 0,-13 14-12 0 0,-1-1-23 0 0,12-13-18 0 0,-11 13-8 0 0,-1 9-1487 0 0,8 11 923 0 0,-8-11-227 0 0,-3 1-256 0 0,0 16-314 0 0,0-15-383 0 0,6 18-2487 0 0,-5-19 3289 0 0</inkml:trace>
</inkml:ink>
</file>

<file path=ppt/ink/ink9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6:53.35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98 19 8 0 0,'-29'3'0'0'0,"0"6"0"0"0,4-1 0 0 0,0 3 0 0 0,0 0 0 0 0,-1 0 0 0 0,2-3 0 0 0,0-2 25 0 0,-5 6 11548 0 0,32 4-11289 0 0,-2-12-239 0 0,0 0 65 0 0,3-3-26 0 0,12 4-13 0 0,-12-3-16 0 0,0-1-18 0 0,21 6 66 0 0,-11-4-62 0 0,-10-2 8 0 0,0-2 17 0 0,1 0-37 0 0,11-2 198 0 0,-13 0-121 0 0,12-6 0 0 0,-11 6-4 0 0,-3-1-6 0 0,0 0-64 0 0,0 3-17 0 0,-1-1 0 0 0,1 1 0 0 0,-1-1-1 0 0,1 1 1 0 0,-1-1 0 0 0,0 1 0 0 0,0-1 0 0 0,0 1 0 0 0,0 0 0 0 0,0-1 0 0 0,0 1 0 0 0,-1-3 0 0 0,2-2 5 0 0,-1 5-10 0 0,0-1 1 0 0,0 0 0 0 0,0 0 0 0 0,0 0 0 0 0,0 1 0 0 0,0-1 0 0 0,-1 0 0 0 0,1 0 0 0 0,-1 1 0 0 0,1-1 0 0 0,-2-3 0 0 0,-5-13 31 0 0,6 14 34 0 0,-3 0-56 0 0,-11-13 2 0 0,11 13-5 0 0,0 2-2 0 0,-12-8-5 0 0,15 10-9 0 0,1-1 0 0 0,0 1-1 0 0,-1 0 1 0 0,1 0-1 0 0,-1-1 1 0 0,1 1 0 0 0,-1 0-1 0 0,1 0 1 0 0,0 0 0 0 0,-1 0-1 0 0,1-1 1 0 0,-1 1-1 0 0,1 0 1 0 0,-1 0 0 0 0,1 0-1 0 0,-2 0 1 0 0,-3 0-1 0 0,3 0-3 0 0,1-1 1 0 0,-1 1 0 0 0,0 0 0 0 0,0 0-1 0 0,0 0 1 0 0,0 0 0 0 0,0 1 0 0 0,0-1 0 0 0,-2 1-1 0 0,-18 5-49 0 0,7-1 35 0 0,11-4 1 0 0,-1 2-1 0 0,-14 8-7 0 0,14-8-8 0 0,1 2-2 0 0,-9 13 18 0 0,10-14-2 0 0,1 1 8 0 0,-4 17 10 0 0,6-22 1 0 0,-1 1 0 0 0,1 0-1 0 0,0-1 1 0 0,0 1 0 0 0,0 0-1 0 0,0-1 1 0 0,-1 1 0 0 0,1-1 0 0 0,0 1-1 0 0,0 0 1 0 0,1-1 0 0 0,-1 1-1 0 0,0 0 1 0 0,0 0 0 0 0,0 5 7 0 0,1-3-2 0 0,-1-1 1 0 0,0 1 0 0 0,1 0-1 0 0,-1 0 1 0 0,1-1 0 0 0,2 6 0 0 0,7 21 79 0 0,-8-23-67 0 0,-1-3-4 0 0,-1-1 1 0 0,1 1-1 0 0,0-1 1 0 0,1 1-1 0 0,-1-1 1 0 0,0 1-1 0 0,3 2 1 0 0,-1 1 14 0 0,-2-4-10 0 0,1 1 1 0 0,-1-1 0 0 0,1 1 0 0 0,-1-1 0 0 0,1 0-1 0 0,0 1 1 0 0,2 1 0 0 0,11 12 106 0 0,-14-14-106 0 0,0-1 0 0 0,0 1 1 0 0,0-1-1 0 0,1 0 0 0 0,-1 0 1 0 0,0 0-1 0 0,1 0 0 0 0,-1 0 1 0 0,0 0-1 0 0,1 0 0 0 0,2 1 1 0 0,0 0 32 0 0,0 0 125 0 0,0 0 21 0 0,1-1-129 0 0,-4 0-34 0 0,1 0 1 0 0,0-1 0 0 0,-1 1-1 0 0,1-1 1 0 0,-1 1-1 0 0,1-1 1 0 0,0 0 0 0 0,-1 1-1 0 0,3-1 1 0 0,21-5 523 0 0,-21 2-415 0 0,12-6-17 0 0,-12 6-10 0 0,-1-1-15 0 0,9-12-15 0 0,-10 11-9 0 0,0 0-10 0 0,1 0-52 0 0,-2 3-8 0 0,0 0 0 0 0,-1 0-1 0 0,1 0 1 0 0,0 0 0 0 0,-1 0 0 0 0,1 0 0 0 0,-1 0-1 0 0,1-5 1 0 0,0-8 37 0 0,0 12-12 0 0,-1-3-7 0 0,1 0-25 0 0,-1 4-6 0 0,0 0 0 0 0,0 0 0 0 0,0 0 0 0 0,0-1 0 0 0,0 1 0 0 0,0 0 0 0 0,0 0 0 0 0,-1 0 0 0 0,0-3 0 0 0,1 1-23 0 0,-1 2-10 0 0,1 0 0 0 0,0 0-1 0 0,-1 0 1 0 0,1 0 0 0 0,-1 0 0 0 0,0 0-1 0 0,1 0 1 0 0,-2-1 0 0 0,-6-17-171 0 0,6 15-32 0 0,-3 0-271 0 0,-13-13 284 0 0,13 14 32 0 0,-9 2-25 0 0,1-1 63 0 0,9 4 64 0 0,-2 0 62 0 0,4-1 12 0 0,-1 1 0 0 0,1 0 0 0 0,-1-1 0 0 0,1 1 0 0 0,-1 0 0 0 0,-2 2 0 0 0,-10 3-33 0 0,11-4 10 0 0,0 2 27 0 0,-14 13 20 0 0,13-13 32 0 0,3 1 37 0 0,-8 14 42 0 0,7-14 31 0 0,4 0 11 0 0,-2 1-107 0 0,1-4-29 0 0,0-1 0 0 0,0 1 0 0 0,0 0 0 0 0,0 0 0 0 0,1 0 0 0 0,-1 0 0 0 0,0 0 0 0 0,1 0 0 0 0,-1 0 1 0 0,2 2-1 0 0,-1 0 26 0 0,-1-2-22 0 0,1 0 0 0 0,-1-1 0 0 0,1 1 0 0 0,-1 0 0 0 0,1 0 0 0 0,0 0 1 0 0,0-1-1 0 0,1 3 0 0 0,6 11 108 0 0,-6-12-18 0 0,3 2-28 0 0,0 1-65 0 0,-3-3-12 0 0,0 0 1 0 0,0-1 0 0 0,0 1 0 0 0,1-1 0 0 0,-1 1 0 0 0,6 3 0 0 0,7 5 23 0 0,-8-7 0 0 0,12 1-32 0 0,-12-4-264 0 0,1-1 1 0 0,0 0-1 0 0,10-1 1 0 0,-16 0 167 0 0,-1 1-85 0 0,1 0 0 0 0,-1 0 0 0 0,1 0 0 0 0,-1 0 0 0 0,1-1 0 0 0,-1 1 0 0 0,1-1 0 0 0,-1 1 0 0 0,1-1 0 0 0,-1 1 0 0 0,0-1 0 0 0,2-1-1 0 0,1 0-455 0 0,15-7-4393 0 0,-15 6 3807 0 0</inkml:trace>
</inkml:ink>
</file>

<file path=ppt/ink/ink9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2.59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203 104 8 0 0,'-29'10'0'0'0,"2"0"0"0"0,24-9 0 0 0,-1 0 0 0 0,1-1 0 0 0,0 1 0 0 0,-7-1 0 0 0,-13-2 0 0 0,1-5 93 0 0,18 5 1746 0 0,0-2-1166 0 0,-15-14 2591 0 0,17 14-2550 0 0,-8-14 6785 0 0,6 19-7149 0 0,-14 7 3297 0 0,22-10-3562 0 0,1-2-56 0 0,14-9 115 0 0,4 1-2 0 0,6-1-57 0 0,-23 10-72 0 0,23-8 31 0 0,-22 8-37 0 0,23-6 24 0 0,-22 6-28 0 0,-4 2-1 0 0,-1 0-1 0 0,1 0 1 0 0,-1 0-1 0 0,1 0 1 0 0,0 1 0 0 0,-1-1-1 0 0,6 1 1 0 0,33-2-8 0 0,-3 3-2 0 0,-7 1 6 0 0,-23-1 0 0 0,-6-1 1 0 0,0 1-1 0 0,0-1 1 0 0,-1 1 0 0 0,1-1 0 0 0,0 1-1 0 0,-1 0 1 0 0,1 0 0 0 0,3 2-1 0 0,-2-2 1 0 0,-3-1 1 0 0,1 1-1 0 0,0-1 1 0 0,-1 1-1 0 0,0-1 0 0 0,1 1 1 0 0,-1 0-1 0 0,1 0 1 0 0,-1 0-1 0 0,0 0 0 0 0,0 0 1 0 0,2 1-1 0 0,12 9 4 0 0,-15-11-2 0 0,0 1 0 0 0,1-1 0 0 0,-1 0 0 0 0,1 1 0 0 0,-1-1 0 0 0,0 0 0 0 0,1 1 0 0 0,-1-1 0 0 0,0 0 0 0 0,0 1 0 0 0,1-1 0 0 0,-1 1 0 0 0,0-1 1 0 0,0 1-1 0 0,1-1 0 0 0,-1 0 0 0 0,0 2 0 0 0,7 16 16 0 0,-6-14 0 0 0,-3 2 7 0 0,-6 15 4 0 0,3-11-9 0 0,-16 18 5 0 0,18-21-21 0 0,1-3-2 0 0,0 0 1 0 0,0-1 0 0 0,-1 1 0 0 0,1-1-1 0 0,-1 0 1 0 0,-3 4 0 0 0,-27 31 14 0 0,-72 91 22 0 0,65-77 21 0 0,-50 85 0 0 0,82-123-26 0 0,-27 53 210 0 0,30-59-216 0 0,3-5-7 0 0,0 1 0 0 0,0 0 1 0 0,0 0-1 0 0,0 0 0 0 0,1 0 0 0 0,-2 7 0 0 0,-9 30 132 0 0,10-33-130 0 0,1-5-10 0 0,-1 0 0 0 0,1 0 0 0 0,1 1 1 0 0,-1-1-1 0 0,0 0 0 0 0,1 1 1 0 0,0 4-1 0 0,-1-2 4 0 0,0-3-5 0 0,1 1-1 0 0,-1-1 0 0 0,1 0 0 0 0,0 0 0 0 0,0 0 1 0 0,1 5-1 0 0,1 10 25 0 0,-2-16-32 0 0,0-1 1 0 0,0 0-1 0 0,0 0 1 0 0,0 1 0 0 0,0-1-1 0 0,1 0 1 0 0,-1 0-1 0 0,1 1 1 0 0,-1-1 0 0 0,0 0-1 0 0,1 0 1 0 0,0 0-1 0 0,-1 0 1 0 0,2 2-1 0 0,0 0 5 0 0,0 1 8 0 0,2 1-8 0 0,13 15-8 0 0,-9-13-11 0 0,-4-4 2 0 0,-2-1 1 0 0,0-1-1 0 0,-1 0 0 0 0,1 1 0 0 0,0-1 1 0 0,0 0-1 0 0,0 0 0 0 0,1-1 1 0 0,-1 1-1 0 0,2 0 0 0 0,2 2-29 0 0,-3-1 0 0 0,0-1 1 0 0,0 0-1 0 0,0 0 1 0 0,0 0-1 0 0,0 0 1 0 0,0 0-1 0 0,0-1 1 0 0,3 1-1 0 0,119 12-3160 0 0,-36-10-7569 0 0,-66-3 5316 0 0</inkml:trace>
</inkml:ink>
</file>

<file path=ppt/ink/ink9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3.809"/>
    </inkml:context>
    <inkml:brush xml:id="br0">
      <inkml:brushProperty name="width" value="0.1" units="cm"/>
      <inkml:brushProperty name="height" value="0.1" units="cm"/>
    </inkml:brush>
  </inkml:definitions>
  <inkml:trace contextRef="#ctx0" brushRef="#br0">36 121 8 0 0,'-22'0'10864'0'0,"19"4"-10855"0"0,2-2-9 0 0,-1 0 0 0 0,1 0-1 0 0,0 0 1 0 0,0 0 0 0 0,0 1 0 0 0,-1 3 0 0 0,2-5-1 0 0,0 0 0 0 0,-1 0 1 0 0,1 1-1 0 0,0-1 1 0 0,0 0-1 0 0,0 0 0 0 0,0 0 1 0 0,0 1-1 0 0,0-1 0 0 0,1 2 1 0 0,2 14-23 0 0,2 22-22 0 0,30 192-83 0 0,-15-88 227 0 0,-20-138 590 0 0,4-5-387 0 0,11-2-21 0 0,-15 2-275 0 0,0 0-1 0 0,1 0 1 0 0,-1 0-1 0 0,0 0 1 0 0,0 0 0 0 0,0 0-1 0 0,1 0 1 0 0,-1 0-1 0 0,0 0 1 0 0,0 0 0 0 0,0-1-1 0 0,1 1 1 0 0,-1 0-1 0 0,0 0 1 0 0,0 0 0 0 0,0 0-1 0 0,1 0 1 0 0,-1 0-1 0 0,0-1 1 0 0,0 1 0 0 0,0 0-1 0 0,0 0 1 0 0,0 0-1 0 0,1 0 1 0 0,-1-1 0 0 0,0 1-1 0 0,0 0 1 0 0,0 0-1 0 0,0 0 1 0 0,0-1 0 0 0,0 1-1 0 0,0 0 1 0 0,0 0-1 0 0,0 0 1 0 0,0-1 0 0 0,0 1-1 0 0,0 0 1 0 0,0 0-1 0 0,0-1 1 0 0,29-119 451 0 0,4-16-319 0 0,44-90-76 0 0,-66 200-90 0 0,19-33 0 0 0,-21 44-10 0 0,-7 11-40 0 0,-1 10-380 0 0,2 17 430 0 0,-4-11 14 0 0,-21 78-48 0 0,9-39 31 0 0,0-1 450 0 0,-1 0-1 0 0,-30 67 1 0 0,33-95 3242 0 0,10-26-3558 0 0,-6-14-33 0 0,7 17-67 0 0,0 1-1 0 0,0 0 0 0 0,-1-1 0 0 0,1 1 1 0 0,0-1-1 0 0,0 1 0 0 0,0-1 0 0 0,0 1 1 0 0,0-1-1 0 0,0 1 0 0 0,0-1 1 0 0,0 1-1 0 0,0-1 0 0 0,0 1 0 0 0,0-1 1 0 0,0 1-1 0 0,0-1 0 0 0,1 1 0 0 0,-1-1 1 0 0,11-36 58 0 0,-2 9-61 0 0,2 0 1 0 0,1 0-1 0 0,15-25 0 0 0,-15 33-42 0 0,1 2-1 0 0,1-1 0 0 0,0 2 1 0 0,1 0-1 0 0,20-17 0 0 0,-7 9-37 0 0,-14 15-6 0 0,-6 4 57 0 0,-1 1-6 0 0,0 1 0 0 0,12-7 0 0 0,6-2-31 0 0,-14 8-8 0 0,11 0-15 0 0,-13 5-40 0 0,-5 0 88 0 0,-3 1 24 0 0,0-1 1 0 0,0 1-1 0 0,1-1 1 0 0,-1 0-1 0 0,0 0 0 0 0,1 0 1 0 0,-1 0-1 0 0,0 0 0 0 0,1 0 1 0 0,-1 0-1 0 0,1 0 0 0 0,3 4-81 0 0,11 12 10 0 0,-15-15 82 0 0,-1-1 0 0 0,1 0 1 0 0,-1 1-1 0 0,1 0 0 0 0,-1-1 0 0 0,0 1 1 0 0,1-1-1 0 0,-1 1 0 0 0,1-1 1 0 0,-1 1-1 0 0,0 0 0 0 0,0-1 0 0 0,1 2 1 0 0,5 16-66 0 0,-4-8 14 0 0,-1-3 40 0 0,-1-3 7 0 0,0-1-1 0 0,0 1 1 0 0,0 0-1 0 0,0 0 0 0 0,-2 5 1 0 0,2-2 1 0 0,0-4 5 0 0,0 1 0 0 0,-1-1 0 0 0,1 0 0 0 0,-1 0 0 0 0,1 1 0 0 0,-1-1-1 0 0,-2 4 1 0 0,1 1 0 0 0,2-4 5 0 0,-1-1-1 0 0,0 1 1 0 0,0 0-1 0 0,-1-1 1 0 0,1 1 0 0 0,-4 5-1 0 0,-13 26 35 0 0,-2 2 50 0 0,-2 0 83 0 0,19-30-130 0 0,1-2-1 0 0,0-1-1 0 0,0 0 0 0 0,0 0 0 0 0,-1 0 0 0 0,-3 4 0 0 0,-18 25 330 0 0,13-16-152 0 0,8-13 13 0 0,0-1-12 0 0,-8 12-23 0 0,8-11 605 0 0,7-9-779 0 0,23-21-65 0 0,-2 3-214 0 0,-20 18 146 0 0,-2 2-94 0 0,1 0-1 0 0,-1-1 0 0 0,1 1 0 0 0,4-2 1 0 0,10-8-1181 0 0,-8 8-1105 0 0,9-2-1718 0 0,13 13-4473 0 0</inkml:trace>
</inkml:ink>
</file>

<file path=ppt/ink/ink9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4-05T11:27:35.102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2 3 8 0 0,'-7'-1'236'0'0,"-8"0"3371"0"0,12 5-2778 0 0,-10 10 79 0 0,9-10 21 0 0,3 0-28 0 0,-6 13-81 0 0,5-13-73 0 0,2-3-676 0 0,1-1 1 0 0,-1 1 0 0 0,-1 0 0 0 0,1 0 0 0 0,0 0 0 0 0,0 0-1 0 0,0 0 1 0 0,0 0 0 0 0,0-1 0 0 0,-1 1 0 0 0,1 0 0 0 0,0 0-1 0 0,-1 1 1 0 0,0-1 17 0 0,0 1 0 0 0,0-1-1 0 0,1 1 1 0 0,-1-1 0 0 0,1 1-1 0 0,-1-1 1 0 0,1 1 0 0 0,0-1-1 0 0,0 3 1 0 0,-1 0 98 0 0,0-2-94 0 0,1 0 0 0 0,0-1-1 0 0,-1 1 1 0 0,1-1 0 0 0,0 1 0 0 0,0-1 0 0 0,0 1 0 0 0,0-1 0 0 0,1 4 0 0 0,5 34 1456 0 0,8 13-83 0 0,-11-44-1385 0 0,2 15 314 0 0,3 3-106 0 0,32 88 189 0 0,-20-54-230 0 0,125 387 654 0 0,-24 7-925 0 0,-91-318 20 0 0,45 218-172 0 0,-28 4 343 0 0,-45-313-98 0 0,-2 1 1 0 0,-2 0 0 0 0,-2 0-1 0 0,-2-1 1 0 0,-14 56 0 0 0,10-65-15 0 0,-1-1 1 0 0,-2-1-1 0 0,-1 0 1 0 0,-2-1-1 0 0,-1-1 1 0 0,-2 0-1 0 0,-23 30 1 0 0,19-32 211 0 0,0-1-1 0 0,-39 36 1 0 0,50-54-143 0 0,-6 5 165 0 0,-25 19 0 0 0,35-30-183 0 0,-1 1 0 0 0,1-2 0 0 0,-1 1 0 0 0,0-1 1 0 0,0-1-1 0 0,-17 5 0 0 0,20-6-69 0 0,-19 3 128 0 0,11-3-86 0 0,10-2 46 0 0,2-4-96 0 0,-8-11-74 0 0,9 15 39 0 0,1 0 1 0 0,0 0-1 0 0,0 0 0 0 0,0-1 1 0 0,0 1-1 0 0,-1 0 0 0 0,1 0 1 0 0,0-1-1 0 0,0 1 1 0 0,0 0-1 0 0,0-1 0 0 0,0 1 1 0 0,0 0-1 0 0,0-1 1 0 0,0 1-1 0 0,0 0 0 0 0,0 0 1 0 0,0-1-1 0 0,0 1 0 0 0,0 0 1 0 0,0-1-1 0 0,0 1 1 0 0,0 0-1 0 0,0-1 0 0 0,0 1 1 0 0,5-26-651 0 0,-4 20 452 0 0,6-17-1345 0 0,-5 18 1035 0 0,1-4-169 0 0,2-4-2535 0 0,4-3-849 0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55F8C-BE37-D6CC-B440-6399027EED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49C712-AACA-3A55-8381-A6991C6436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F53B56-7C02-D6EE-D664-91CC17845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9EAF96-B02B-5CA2-F481-6D2E580ED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7AB0C7-8581-D4BD-DBA6-A81DC33F7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337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4ED055-4FB4-A158-6CEA-91FFFF19F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0F6EA9D-ADC2-2731-D878-BAEEA34F62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C395ADD-2383-80F2-D420-2C879ED3A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491DA-7664-427B-2638-D0B5FBB6A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55CFBF-2133-DC95-9296-3119DF76D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791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4EFBD92-AFD6-8A3E-B9F1-3E26273739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53735CB-A908-D701-ACCB-70C3003957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6A2ACD-B5DC-FE46-3739-201ACCC24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3332131-F7F8-82D4-804E-344D67E3C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52149D7-4096-9D38-B4E6-FF29048BC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4232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B5AF54-8DD6-6202-04C3-E21561518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B811BE-53B6-93DC-1950-BFF38B7783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0F18DE-3519-9C34-608B-D3B7C99C85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8C384A-D977-C66A-762A-1EB9C22F6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4CC166-C510-BE41-EC47-1605FFF27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5702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694266-AA36-87E7-3BEF-4EC4A740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E3873A0-F666-0AD0-ABB3-5784FDAE9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F044C6E-7034-29D7-79CA-CABD6DD55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D1520A-26AE-2CF3-4CDB-EBDCC93AA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50C0F0-979F-AC55-06DC-1B9E5DBAA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2676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806CD-F04D-87DC-1C61-2305605D5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5DF9DA-D152-F93F-27EB-96FF86D90D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0239665-6E88-13B2-1563-55B3A4B7CF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26683B1-CF91-21B9-1068-D93094967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47C6FD8-B722-D8B4-080C-56E687416F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6998693-8BA8-171D-A9E2-C555D9E30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2353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306A65-4267-B9FD-4FF9-FB013E8B9E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F38F17-40A8-7C4B-7180-BDE962D163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774F0B-3EB9-B8EC-4D3C-2AB3A02CFA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55E334B-EA22-FC96-0760-2FF4E10165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9A63EA7-2FEB-E6C0-BA54-42B1B7AFE0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B669286-8169-9612-83FE-EEACFD83F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3F3386-3203-2F03-19AA-51F36CE31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359C8F3-5FDB-F029-6172-A94813EF9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4579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B32E58-E6FA-0FE3-8BE3-8A12D9697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7E34A9-CD44-8151-EBE1-B92858F3C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A14C87-448B-E187-D7E6-FB57EB3BF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72DFFC-28EB-D0A0-BB6E-0C951889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778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78E2407-109E-94E1-C55B-851DFD901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1654CB0-9F4F-2E5A-2AA0-3C4A628C2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545E27-013A-4D25-F6A3-3D506EA2D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250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3DD26D-CF21-433A-AE63-DB6D97AC8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AF719C-10EC-5FBB-A853-8E80381E70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BFF41A8-D365-FF25-88C3-FBF17EB561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B4904D-45AE-86EA-817F-8013EA83F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C7BD3E-9753-1304-1775-598B9558A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BECCB8-C6FF-6E48-1553-ED30B4A05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9609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DB19E9-E7BA-6F81-18F1-AAF5D7BD2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1E006F0-DD6B-81B7-E87E-7183FD73E6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3423C6-FA30-1917-1B32-4EBC3FA8B8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8A5AE1A-A8C7-AEF4-1E15-EA588637DC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CEBF83-44FC-5AED-B4DB-EDD86FBA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F286D98-161C-34AD-4FBB-A1B8D2BB9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8192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B06DB61-7FB3-84E4-3F0E-941A210B1A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957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25" imgH="426" progId="TCLayout.ActiveDocument.1">
                  <p:embed/>
                </p:oleObj>
              </mc:Choice>
              <mc:Fallback>
                <p:oleObj name="think-cell Folie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53D276F-AD4E-4D93-17D0-28ED00693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5BA438-3C7B-6273-4542-707F47D1A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E87242-4548-9231-5D05-7E9483D017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C2B7903-2CA6-4F53-A2B8-622AE6345756}" type="datetimeFigureOut">
              <a:rPr lang="de-DE" smtClean="0"/>
              <a:t>05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F27D31-B78B-8D9F-9F2D-1697FB495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CBACC46-4588-E7CB-EB5F-2E2239314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2E0A066-BBFB-4CE3-A945-A9D6A801B4D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3753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57.xml"/><Relationship Id="rId299" Type="http://schemas.openxmlformats.org/officeDocument/2006/relationships/customXml" Target="../ink/ink148.xml"/><Relationship Id="rId21" Type="http://schemas.openxmlformats.org/officeDocument/2006/relationships/customXml" Target="../ink/ink9.xml"/><Relationship Id="rId63" Type="http://schemas.openxmlformats.org/officeDocument/2006/relationships/customXml" Target="../ink/ink30.xml"/><Relationship Id="rId159" Type="http://schemas.openxmlformats.org/officeDocument/2006/relationships/customXml" Target="../ink/ink78.xml"/><Relationship Id="rId170" Type="http://schemas.openxmlformats.org/officeDocument/2006/relationships/image" Target="../media/image84.png"/><Relationship Id="rId226" Type="http://schemas.openxmlformats.org/officeDocument/2006/relationships/image" Target="../media/image112.png"/><Relationship Id="rId268" Type="http://schemas.openxmlformats.org/officeDocument/2006/relationships/image" Target="../media/image133.png"/><Relationship Id="rId32" Type="http://schemas.openxmlformats.org/officeDocument/2006/relationships/image" Target="../media/image15.png"/><Relationship Id="rId74" Type="http://schemas.openxmlformats.org/officeDocument/2006/relationships/image" Target="../media/image36.png"/><Relationship Id="rId128" Type="http://schemas.openxmlformats.org/officeDocument/2006/relationships/image" Target="../media/image63.png"/><Relationship Id="rId5" Type="http://schemas.openxmlformats.org/officeDocument/2006/relationships/customXml" Target="../ink/ink1.xml"/><Relationship Id="rId181" Type="http://schemas.openxmlformats.org/officeDocument/2006/relationships/customXml" Target="../ink/ink89.xml"/><Relationship Id="rId237" Type="http://schemas.openxmlformats.org/officeDocument/2006/relationships/customXml" Target="../ink/ink117.xml"/><Relationship Id="rId279" Type="http://schemas.openxmlformats.org/officeDocument/2006/relationships/customXml" Target="../ink/ink138.xml"/><Relationship Id="rId43" Type="http://schemas.openxmlformats.org/officeDocument/2006/relationships/customXml" Target="../ink/ink20.xml"/><Relationship Id="rId139" Type="http://schemas.openxmlformats.org/officeDocument/2006/relationships/customXml" Target="../ink/ink68.xml"/><Relationship Id="rId290" Type="http://schemas.openxmlformats.org/officeDocument/2006/relationships/image" Target="../media/image144.png"/><Relationship Id="rId304" Type="http://schemas.openxmlformats.org/officeDocument/2006/relationships/image" Target="../media/image151.png"/><Relationship Id="rId85" Type="http://schemas.openxmlformats.org/officeDocument/2006/relationships/customXml" Target="../ink/ink41.xml"/><Relationship Id="rId150" Type="http://schemas.openxmlformats.org/officeDocument/2006/relationships/image" Target="../media/image74.png"/><Relationship Id="rId192" Type="http://schemas.openxmlformats.org/officeDocument/2006/relationships/image" Target="../media/image95.png"/><Relationship Id="rId206" Type="http://schemas.openxmlformats.org/officeDocument/2006/relationships/image" Target="../media/image102.png"/><Relationship Id="rId248" Type="http://schemas.openxmlformats.org/officeDocument/2006/relationships/image" Target="../media/image123.png"/><Relationship Id="rId12" Type="http://schemas.openxmlformats.org/officeDocument/2006/relationships/image" Target="../media/image5.png"/><Relationship Id="rId108" Type="http://schemas.openxmlformats.org/officeDocument/2006/relationships/image" Target="../media/image53.png"/><Relationship Id="rId315" Type="http://schemas.openxmlformats.org/officeDocument/2006/relationships/customXml" Target="../ink/ink156.xml"/><Relationship Id="rId54" Type="http://schemas.openxmlformats.org/officeDocument/2006/relationships/image" Target="../media/image26.png"/><Relationship Id="rId96" Type="http://schemas.openxmlformats.org/officeDocument/2006/relationships/image" Target="../media/image47.png"/><Relationship Id="rId161" Type="http://schemas.openxmlformats.org/officeDocument/2006/relationships/customXml" Target="../ink/ink79.xml"/><Relationship Id="rId217" Type="http://schemas.openxmlformats.org/officeDocument/2006/relationships/customXml" Target="../ink/ink107.xml"/><Relationship Id="rId259" Type="http://schemas.openxmlformats.org/officeDocument/2006/relationships/customXml" Target="../ink/ink128.xml"/><Relationship Id="rId23" Type="http://schemas.openxmlformats.org/officeDocument/2006/relationships/customXml" Target="../ink/ink10.xml"/><Relationship Id="rId119" Type="http://schemas.openxmlformats.org/officeDocument/2006/relationships/customXml" Target="../ink/ink58.xml"/><Relationship Id="rId270" Type="http://schemas.openxmlformats.org/officeDocument/2006/relationships/image" Target="../media/image134.png"/><Relationship Id="rId65" Type="http://schemas.openxmlformats.org/officeDocument/2006/relationships/customXml" Target="../ink/ink31.xml"/><Relationship Id="rId130" Type="http://schemas.openxmlformats.org/officeDocument/2006/relationships/image" Target="../media/image64.png"/><Relationship Id="rId172" Type="http://schemas.openxmlformats.org/officeDocument/2006/relationships/image" Target="../media/image85.png"/><Relationship Id="rId228" Type="http://schemas.openxmlformats.org/officeDocument/2006/relationships/image" Target="../media/image113.png"/><Relationship Id="rId281" Type="http://schemas.openxmlformats.org/officeDocument/2006/relationships/customXml" Target="../ink/ink139.xml"/><Relationship Id="rId34" Type="http://schemas.openxmlformats.org/officeDocument/2006/relationships/image" Target="../media/image16.png"/><Relationship Id="rId55" Type="http://schemas.openxmlformats.org/officeDocument/2006/relationships/customXml" Target="../ink/ink26.xml"/><Relationship Id="rId76" Type="http://schemas.openxmlformats.org/officeDocument/2006/relationships/image" Target="../media/image37.png"/><Relationship Id="rId97" Type="http://schemas.openxmlformats.org/officeDocument/2006/relationships/customXml" Target="../ink/ink47.xml"/><Relationship Id="rId120" Type="http://schemas.openxmlformats.org/officeDocument/2006/relationships/image" Target="../media/image59.png"/><Relationship Id="rId141" Type="http://schemas.openxmlformats.org/officeDocument/2006/relationships/customXml" Target="../ink/ink69.xml"/><Relationship Id="rId7" Type="http://schemas.openxmlformats.org/officeDocument/2006/relationships/customXml" Target="../ink/ink2.xml"/><Relationship Id="rId162" Type="http://schemas.openxmlformats.org/officeDocument/2006/relationships/image" Target="../media/image80.png"/><Relationship Id="rId183" Type="http://schemas.openxmlformats.org/officeDocument/2006/relationships/customXml" Target="../ink/ink90.xml"/><Relationship Id="rId218" Type="http://schemas.openxmlformats.org/officeDocument/2006/relationships/image" Target="../media/image108.png"/><Relationship Id="rId239" Type="http://schemas.openxmlformats.org/officeDocument/2006/relationships/customXml" Target="../ink/ink118.xml"/><Relationship Id="rId250" Type="http://schemas.openxmlformats.org/officeDocument/2006/relationships/image" Target="../media/image124.png"/><Relationship Id="rId271" Type="http://schemas.openxmlformats.org/officeDocument/2006/relationships/customXml" Target="../ink/ink134.xml"/><Relationship Id="rId292" Type="http://schemas.openxmlformats.org/officeDocument/2006/relationships/image" Target="../media/image145.png"/><Relationship Id="rId306" Type="http://schemas.openxmlformats.org/officeDocument/2006/relationships/image" Target="../media/image152.png"/><Relationship Id="rId24" Type="http://schemas.openxmlformats.org/officeDocument/2006/relationships/image" Target="../media/image11.png"/><Relationship Id="rId45" Type="http://schemas.openxmlformats.org/officeDocument/2006/relationships/customXml" Target="../ink/ink21.xml"/><Relationship Id="rId66" Type="http://schemas.openxmlformats.org/officeDocument/2006/relationships/image" Target="../media/image32.png"/><Relationship Id="rId87" Type="http://schemas.openxmlformats.org/officeDocument/2006/relationships/customXml" Target="../ink/ink42.xml"/><Relationship Id="rId110" Type="http://schemas.openxmlformats.org/officeDocument/2006/relationships/image" Target="../media/image54.png"/><Relationship Id="rId131" Type="http://schemas.openxmlformats.org/officeDocument/2006/relationships/customXml" Target="../ink/ink64.xml"/><Relationship Id="rId152" Type="http://schemas.openxmlformats.org/officeDocument/2006/relationships/image" Target="../media/image75.png"/><Relationship Id="rId173" Type="http://schemas.openxmlformats.org/officeDocument/2006/relationships/customXml" Target="../ink/ink85.xml"/><Relationship Id="rId194" Type="http://schemas.openxmlformats.org/officeDocument/2006/relationships/image" Target="../media/image96.png"/><Relationship Id="rId208" Type="http://schemas.openxmlformats.org/officeDocument/2006/relationships/image" Target="../media/image103.png"/><Relationship Id="rId229" Type="http://schemas.openxmlformats.org/officeDocument/2006/relationships/customXml" Target="../ink/ink113.xml"/><Relationship Id="rId240" Type="http://schemas.openxmlformats.org/officeDocument/2006/relationships/image" Target="../media/image119.png"/><Relationship Id="rId261" Type="http://schemas.openxmlformats.org/officeDocument/2006/relationships/customXml" Target="../ink/ink129.xml"/><Relationship Id="rId14" Type="http://schemas.openxmlformats.org/officeDocument/2006/relationships/image" Target="../media/image6.png"/><Relationship Id="rId35" Type="http://schemas.openxmlformats.org/officeDocument/2006/relationships/customXml" Target="../ink/ink16.xml"/><Relationship Id="rId56" Type="http://schemas.openxmlformats.org/officeDocument/2006/relationships/image" Target="../media/image27.png"/><Relationship Id="rId77" Type="http://schemas.openxmlformats.org/officeDocument/2006/relationships/customXml" Target="../ink/ink37.xml"/><Relationship Id="rId100" Type="http://schemas.openxmlformats.org/officeDocument/2006/relationships/image" Target="../media/image49.png"/><Relationship Id="rId282" Type="http://schemas.openxmlformats.org/officeDocument/2006/relationships/image" Target="../media/image140.png"/><Relationship Id="rId317" Type="http://schemas.openxmlformats.org/officeDocument/2006/relationships/customXml" Target="../ink/ink157.xml"/><Relationship Id="rId8" Type="http://schemas.openxmlformats.org/officeDocument/2006/relationships/image" Target="../media/image3.png"/><Relationship Id="rId98" Type="http://schemas.openxmlformats.org/officeDocument/2006/relationships/image" Target="../media/image48.png"/><Relationship Id="rId121" Type="http://schemas.openxmlformats.org/officeDocument/2006/relationships/customXml" Target="../ink/ink59.xml"/><Relationship Id="rId142" Type="http://schemas.openxmlformats.org/officeDocument/2006/relationships/image" Target="../media/image70.png"/><Relationship Id="rId163" Type="http://schemas.openxmlformats.org/officeDocument/2006/relationships/customXml" Target="../ink/ink80.xml"/><Relationship Id="rId184" Type="http://schemas.openxmlformats.org/officeDocument/2006/relationships/image" Target="../media/image91.png"/><Relationship Id="rId219" Type="http://schemas.openxmlformats.org/officeDocument/2006/relationships/customXml" Target="../ink/ink108.xml"/><Relationship Id="rId230" Type="http://schemas.openxmlformats.org/officeDocument/2006/relationships/image" Target="../media/image114.png"/><Relationship Id="rId251" Type="http://schemas.openxmlformats.org/officeDocument/2006/relationships/customXml" Target="../ink/ink124.xml"/><Relationship Id="rId25" Type="http://schemas.openxmlformats.org/officeDocument/2006/relationships/customXml" Target="../ink/ink11.xml"/><Relationship Id="rId46" Type="http://schemas.openxmlformats.org/officeDocument/2006/relationships/image" Target="../media/image22.png"/><Relationship Id="rId67" Type="http://schemas.openxmlformats.org/officeDocument/2006/relationships/customXml" Target="../ink/ink32.xml"/><Relationship Id="rId272" Type="http://schemas.openxmlformats.org/officeDocument/2006/relationships/image" Target="../media/image135.png"/><Relationship Id="rId293" Type="http://schemas.openxmlformats.org/officeDocument/2006/relationships/customXml" Target="../ink/ink145.xml"/><Relationship Id="rId307" Type="http://schemas.openxmlformats.org/officeDocument/2006/relationships/customXml" Target="../ink/ink152.xml"/><Relationship Id="rId88" Type="http://schemas.openxmlformats.org/officeDocument/2006/relationships/image" Target="../media/image43.png"/><Relationship Id="rId111" Type="http://schemas.openxmlformats.org/officeDocument/2006/relationships/customXml" Target="../ink/ink54.xml"/><Relationship Id="rId132" Type="http://schemas.openxmlformats.org/officeDocument/2006/relationships/image" Target="../media/image65.png"/><Relationship Id="rId153" Type="http://schemas.openxmlformats.org/officeDocument/2006/relationships/customXml" Target="../ink/ink75.xml"/><Relationship Id="rId174" Type="http://schemas.openxmlformats.org/officeDocument/2006/relationships/image" Target="../media/image86.png"/><Relationship Id="rId195" Type="http://schemas.openxmlformats.org/officeDocument/2006/relationships/customXml" Target="../ink/ink96.xml"/><Relationship Id="rId209" Type="http://schemas.openxmlformats.org/officeDocument/2006/relationships/customXml" Target="../ink/ink103.xml"/><Relationship Id="rId220" Type="http://schemas.openxmlformats.org/officeDocument/2006/relationships/image" Target="../media/image109.png"/><Relationship Id="rId241" Type="http://schemas.openxmlformats.org/officeDocument/2006/relationships/customXml" Target="../ink/ink119.xml"/><Relationship Id="rId15" Type="http://schemas.openxmlformats.org/officeDocument/2006/relationships/customXml" Target="../ink/ink6.xml"/><Relationship Id="rId36" Type="http://schemas.openxmlformats.org/officeDocument/2006/relationships/image" Target="../media/image17.png"/><Relationship Id="rId57" Type="http://schemas.openxmlformats.org/officeDocument/2006/relationships/customXml" Target="../ink/ink27.xml"/><Relationship Id="rId262" Type="http://schemas.openxmlformats.org/officeDocument/2006/relationships/image" Target="../media/image130.png"/><Relationship Id="rId283" Type="http://schemas.openxmlformats.org/officeDocument/2006/relationships/customXml" Target="../ink/ink140.xml"/><Relationship Id="rId318" Type="http://schemas.openxmlformats.org/officeDocument/2006/relationships/image" Target="../media/image158.png"/><Relationship Id="rId78" Type="http://schemas.openxmlformats.org/officeDocument/2006/relationships/image" Target="../media/image38.png"/><Relationship Id="rId99" Type="http://schemas.openxmlformats.org/officeDocument/2006/relationships/customXml" Target="../ink/ink48.xml"/><Relationship Id="rId101" Type="http://schemas.openxmlformats.org/officeDocument/2006/relationships/customXml" Target="../ink/ink49.xml"/><Relationship Id="rId122" Type="http://schemas.openxmlformats.org/officeDocument/2006/relationships/image" Target="../media/image60.png"/><Relationship Id="rId143" Type="http://schemas.openxmlformats.org/officeDocument/2006/relationships/customXml" Target="../ink/ink70.xml"/><Relationship Id="rId164" Type="http://schemas.openxmlformats.org/officeDocument/2006/relationships/image" Target="../media/image81.png"/><Relationship Id="rId185" Type="http://schemas.openxmlformats.org/officeDocument/2006/relationships/customXml" Target="../ink/ink91.xml"/><Relationship Id="rId9" Type="http://schemas.openxmlformats.org/officeDocument/2006/relationships/customXml" Target="../ink/ink3.xml"/><Relationship Id="rId210" Type="http://schemas.openxmlformats.org/officeDocument/2006/relationships/image" Target="../media/image104.png"/><Relationship Id="rId26" Type="http://schemas.openxmlformats.org/officeDocument/2006/relationships/image" Target="../media/image12.png"/><Relationship Id="rId231" Type="http://schemas.openxmlformats.org/officeDocument/2006/relationships/customXml" Target="../ink/ink114.xml"/><Relationship Id="rId252" Type="http://schemas.openxmlformats.org/officeDocument/2006/relationships/image" Target="../media/image125.png"/><Relationship Id="rId273" Type="http://schemas.openxmlformats.org/officeDocument/2006/relationships/customXml" Target="../ink/ink135.xml"/><Relationship Id="rId294" Type="http://schemas.openxmlformats.org/officeDocument/2006/relationships/image" Target="../media/image146.png"/><Relationship Id="rId308" Type="http://schemas.openxmlformats.org/officeDocument/2006/relationships/image" Target="../media/image153.png"/><Relationship Id="rId47" Type="http://schemas.openxmlformats.org/officeDocument/2006/relationships/customXml" Target="../ink/ink22.xml"/><Relationship Id="rId68" Type="http://schemas.openxmlformats.org/officeDocument/2006/relationships/image" Target="../media/image33.png"/><Relationship Id="rId89" Type="http://schemas.openxmlformats.org/officeDocument/2006/relationships/customXml" Target="../ink/ink43.xml"/><Relationship Id="rId112" Type="http://schemas.openxmlformats.org/officeDocument/2006/relationships/image" Target="../media/image55.png"/><Relationship Id="rId133" Type="http://schemas.openxmlformats.org/officeDocument/2006/relationships/customXml" Target="../ink/ink65.xml"/><Relationship Id="rId154" Type="http://schemas.openxmlformats.org/officeDocument/2006/relationships/image" Target="../media/image76.png"/><Relationship Id="rId175" Type="http://schemas.openxmlformats.org/officeDocument/2006/relationships/customXml" Target="../ink/ink86.xml"/><Relationship Id="rId196" Type="http://schemas.openxmlformats.org/officeDocument/2006/relationships/image" Target="../media/image97.png"/><Relationship Id="rId200" Type="http://schemas.openxmlformats.org/officeDocument/2006/relationships/image" Target="../media/image99.png"/><Relationship Id="rId16" Type="http://schemas.openxmlformats.org/officeDocument/2006/relationships/image" Target="../media/image7.png"/><Relationship Id="rId221" Type="http://schemas.openxmlformats.org/officeDocument/2006/relationships/customXml" Target="../ink/ink109.xml"/><Relationship Id="rId242" Type="http://schemas.openxmlformats.org/officeDocument/2006/relationships/image" Target="../media/image120.png"/><Relationship Id="rId263" Type="http://schemas.openxmlformats.org/officeDocument/2006/relationships/customXml" Target="../ink/ink130.xml"/><Relationship Id="rId284" Type="http://schemas.openxmlformats.org/officeDocument/2006/relationships/image" Target="../media/image141.png"/><Relationship Id="rId319" Type="http://schemas.openxmlformats.org/officeDocument/2006/relationships/customXml" Target="../ink/ink158.xml"/><Relationship Id="rId37" Type="http://schemas.openxmlformats.org/officeDocument/2006/relationships/customXml" Target="../ink/ink17.xml"/><Relationship Id="rId58" Type="http://schemas.openxmlformats.org/officeDocument/2006/relationships/image" Target="../media/image28.png"/><Relationship Id="rId79" Type="http://schemas.openxmlformats.org/officeDocument/2006/relationships/customXml" Target="../ink/ink38.xml"/><Relationship Id="rId102" Type="http://schemas.openxmlformats.org/officeDocument/2006/relationships/image" Target="../media/image50.png"/><Relationship Id="rId123" Type="http://schemas.openxmlformats.org/officeDocument/2006/relationships/customXml" Target="../ink/ink60.xml"/><Relationship Id="rId144" Type="http://schemas.openxmlformats.org/officeDocument/2006/relationships/image" Target="../media/image71.png"/><Relationship Id="rId90" Type="http://schemas.openxmlformats.org/officeDocument/2006/relationships/image" Target="../media/image44.png"/><Relationship Id="rId165" Type="http://schemas.openxmlformats.org/officeDocument/2006/relationships/customXml" Target="../ink/ink81.xml"/><Relationship Id="rId186" Type="http://schemas.openxmlformats.org/officeDocument/2006/relationships/image" Target="../media/image92.png"/><Relationship Id="rId211" Type="http://schemas.openxmlformats.org/officeDocument/2006/relationships/customXml" Target="../ink/ink104.xml"/><Relationship Id="rId232" Type="http://schemas.openxmlformats.org/officeDocument/2006/relationships/image" Target="../media/image115.png"/><Relationship Id="rId253" Type="http://schemas.openxmlformats.org/officeDocument/2006/relationships/customXml" Target="../ink/ink125.xml"/><Relationship Id="rId274" Type="http://schemas.openxmlformats.org/officeDocument/2006/relationships/image" Target="../media/image136.png"/><Relationship Id="rId295" Type="http://schemas.openxmlformats.org/officeDocument/2006/relationships/customXml" Target="../ink/ink146.xml"/><Relationship Id="rId309" Type="http://schemas.openxmlformats.org/officeDocument/2006/relationships/customXml" Target="../ink/ink153.xml"/><Relationship Id="rId27" Type="http://schemas.openxmlformats.org/officeDocument/2006/relationships/customXml" Target="../ink/ink12.xml"/><Relationship Id="rId48" Type="http://schemas.openxmlformats.org/officeDocument/2006/relationships/image" Target="../media/image23.png"/><Relationship Id="rId69" Type="http://schemas.openxmlformats.org/officeDocument/2006/relationships/customXml" Target="../ink/ink33.xml"/><Relationship Id="rId113" Type="http://schemas.openxmlformats.org/officeDocument/2006/relationships/customXml" Target="../ink/ink55.xml"/><Relationship Id="rId134" Type="http://schemas.openxmlformats.org/officeDocument/2006/relationships/image" Target="../media/image66.png"/><Relationship Id="rId320" Type="http://schemas.openxmlformats.org/officeDocument/2006/relationships/image" Target="../media/image159.png"/><Relationship Id="rId80" Type="http://schemas.openxmlformats.org/officeDocument/2006/relationships/image" Target="../media/image39.png"/><Relationship Id="rId155" Type="http://schemas.openxmlformats.org/officeDocument/2006/relationships/customXml" Target="../ink/ink76.xml"/><Relationship Id="rId176" Type="http://schemas.openxmlformats.org/officeDocument/2006/relationships/image" Target="../media/image87.png"/><Relationship Id="rId197" Type="http://schemas.openxmlformats.org/officeDocument/2006/relationships/customXml" Target="../ink/ink97.xml"/><Relationship Id="rId201" Type="http://schemas.openxmlformats.org/officeDocument/2006/relationships/customXml" Target="../ink/ink99.xml"/><Relationship Id="rId222" Type="http://schemas.openxmlformats.org/officeDocument/2006/relationships/image" Target="../media/image110.png"/><Relationship Id="rId243" Type="http://schemas.openxmlformats.org/officeDocument/2006/relationships/customXml" Target="../ink/ink120.xml"/><Relationship Id="rId264" Type="http://schemas.openxmlformats.org/officeDocument/2006/relationships/image" Target="../media/image131.png"/><Relationship Id="rId285" Type="http://schemas.openxmlformats.org/officeDocument/2006/relationships/customXml" Target="../ink/ink141.xml"/><Relationship Id="rId17" Type="http://schemas.openxmlformats.org/officeDocument/2006/relationships/customXml" Target="../ink/ink7.xml"/><Relationship Id="rId38" Type="http://schemas.openxmlformats.org/officeDocument/2006/relationships/image" Target="../media/image18.png"/><Relationship Id="rId59" Type="http://schemas.openxmlformats.org/officeDocument/2006/relationships/customXml" Target="../ink/ink28.xml"/><Relationship Id="rId103" Type="http://schemas.openxmlformats.org/officeDocument/2006/relationships/customXml" Target="../ink/ink50.xml"/><Relationship Id="rId124" Type="http://schemas.openxmlformats.org/officeDocument/2006/relationships/image" Target="../media/image61.png"/><Relationship Id="rId310" Type="http://schemas.openxmlformats.org/officeDocument/2006/relationships/image" Target="../media/image154.png"/><Relationship Id="rId70" Type="http://schemas.openxmlformats.org/officeDocument/2006/relationships/image" Target="../media/image34.png"/><Relationship Id="rId91" Type="http://schemas.openxmlformats.org/officeDocument/2006/relationships/customXml" Target="../ink/ink44.xml"/><Relationship Id="rId145" Type="http://schemas.openxmlformats.org/officeDocument/2006/relationships/customXml" Target="../ink/ink71.xml"/><Relationship Id="rId166" Type="http://schemas.openxmlformats.org/officeDocument/2006/relationships/image" Target="../media/image82.png"/><Relationship Id="rId187" Type="http://schemas.openxmlformats.org/officeDocument/2006/relationships/customXml" Target="../ink/ink92.xml"/><Relationship Id="rId1" Type="http://schemas.openxmlformats.org/officeDocument/2006/relationships/tags" Target="../tags/tag3.xml"/><Relationship Id="rId212" Type="http://schemas.openxmlformats.org/officeDocument/2006/relationships/image" Target="../media/image105.png"/><Relationship Id="rId233" Type="http://schemas.openxmlformats.org/officeDocument/2006/relationships/customXml" Target="../ink/ink115.xml"/><Relationship Id="rId254" Type="http://schemas.openxmlformats.org/officeDocument/2006/relationships/image" Target="../media/image126.png"/><Relationship Id="rId28" Type="http://schemas.openxmlformats.org/officeDocument/2006/relationships/image" Target="../media/image13.png"/><Relationship Id="rId49" Type="http://schemas.openxmlformats.org/officeDocument/2006/relationships/customXml" Target="../ink/ink23.xml"/><Relationship Id="rId114" Type="http://schemas.openxmlformats.org/officeDocument/2006/relationships/image" Target="../media/image56.png"/><Relationship Id="rId275" Type="http://schemas.openxmlformats.org/officeDocument/2006/relationships/customXml" Target="../ink/ink136.xml"/><Relationship Id="rId296" Type="http://schemas.openxmlformats.org/officeDocument/2006/relationships/image" Target="../media/image147.png"/><Relationship Id="rId300" Type="http://schemas.openxmlformats.org/officeDocument/2006/relationships/image" Target="../media/image149.png"/><Relationship Id="rId60" Type="http://schemas.openxmlformats.org/officeDocument/2006/relationships/image" Target="../media/image29.png"/><Relationship Id="rId81" Type="http://schemas.openxmlformats.org/officeDocument/2006/relationships/customXml" Target="../ink/ink39.xml"/><Relationship Id="rId135" Type="http://schemas.openxmlformats.org/officeDocument/2006/relationships/customXml" Target="../ink/ink66.xml"/><Relationship Id="rId156" Type="http://schemas.openxmlformats.org/officeDocument/2006/relationships/image" Target="../media/image77.png"/><Relationship Id="rId177" Type="http://schemas.openxmlformats.org/officeDocument/2006/relationships/customXml" Target="../ink/ink87.xml"/><Relationship Id="rId198" Type="http://schemas.openxmlformats.org/officeDocument/2006/relationships/image" Target="../media/image98.png"/><Relationship Id="rId321" Type="http://schemas.openxmlformats.org/officeDocument/2006/relationships/customXml" Target="../ink/ink159.xml"/><Relationship Id="rId202" Type="http://schemas.openxmlformats.org/officeDocument/2006/relationships/image" Target="../media/image100.png"/><Relationship Id="rId223" Type="http://schemas.openxmlformats.org/officeDocument/2006/relationships/customXml" Target="../ink/ink110.xml"/><Relationship Id="rId244" Type="http://schemas.openxmlformats.org/officeDocument/2006/relationships/image" Target="../media/image121.png"/><Relationship Id="rId18" Type="http://schemas.openxmlformats.org/officeDocument/2006/relationships/image" Target="../media/image8.png"/><Relationship Id="rId39" Type="http://schemas.openxmlformats.org/officeDocument/2006/relationships/customXml" Target="../ink/ink18.xml"/><Relationship Id="rId265" Type="http://schemas.openxmlformats.org/officeDocument/2006/relationships/customXml" Target="../ink/ink131.xml"/><Relationship Id="rId286" Type="http://schemas.openxmlformats.org/officeDocument/2006/relationships/image" Target="../media/image142.png"/><Relationship Id="rId50" Type="http://schemas.openxmlformats.org/officeDocument/2006/relationships/image" Target="../media/image24.png"/><Relationship Id="rId104" Type="http://schemas.openxmlformats.org/officeDocument/2006/relationships/image" Target="../media/image51.png"/><Relationship Id="rId125" Type="http://schemas.openxmlformats.org/officeDocument/2006/relationships/customXml" Target="../ink/ink61.xml"/><Relationship Id="rId146" Type="http://schemas.openxmlformats.org/officeDocument/2006/relationships/image" Target="../media/image72.png"/><Relationship Id="rId167" Type="http://schemas.openxmlformats.org/officeDocument/2006/relationships/customXml" Target="../ink/ink82.xml"/><Relationship Id="rId188" Type="http://schemas.openxmlformats.org/officeDocument/2006/relationships/image" Target="../media/image93.png"/><Relationship Id="rId311" Type="http://schemas.openxmlformats.org/officeDocument/2006/relationships/customXml" Target="../ink/ink154.xml"/><Relationship Id="rId71" Type="http://schemas.openxmlformats.org/officeDocument/2006/relationships/customXml" Target="../ink/ink34.xml"/><Relationship Id="rId92" Type="http://schemas.openxmlformats.org/officeDocument/2006/relationships/image" Target="../media/image45.png"/><Relationship Id="rId213" Type="http://schemas.openxmlformats.org/officeDocument/2006/relationships/customXml" Target="../ink/ink105.xml"/><Relationship Id="rId234" Type="http://schemas.openxmlformats.org/officeDocument/2006/relationships/image" Target="../media/image116.png"/><Relationship Id="rId2" Type="http://schemas.openxmlformats.org/officeDocument/2006/relationships/slideLayout" Target="../slideLayouts/slideLayout2.xml"/><Relationship Id="rId29" Type="http://schemas.openxmlformats.org/officeDocument/2006/relationships/customXml" Target="../ink/ink13.xml"/><Relationship Id="rId255" Type="http://schemas.openxmlformats.org/officeDocument/2006/relationships/customXml" Target="../ink/ink126.xml"/><Relationship Id="rId276" Type="http://schemas.openxmlformats.org/officeDocument/2006/relationships/image" Target="../media/image137.png"/><Relationship Id="rId297" Type="http://schemas.openxmlformats.org/officeDocument/2006/relationships/customXml" Target="../ink/ink147.xml"/><Relationship Id="rId40" Type="http://schemas.openxmlformats.org/officeDocument/2006/relationships/image" Target="../media/image19.png"/><Relationship Id="rId115" Type="http://schemas.openxmlformats.org/officeDocument/2006/relationships/customXml" Target="../ink/ink56.xml"/><Relationship Id="rId136" Type="http://schemas.openxmlformats.org/officeDocument/2006/relationships/image" Target="../media/image67.png"/><Relationship Id="rId157" Type="http://schemas.openxmlformats.org/officeDocument/2006/relationships/customXml" Target="../ink/ink77.xml"/><Relationship Id="rId178" Type="http://schemas.openxmlformats.org/officeDocument/2006/relationships/image" Target="../media/image88.png"/><Relationship Id="rId301" Type="http://schemas.openxmlformats.org/officeDocument/2006/relationships/customXml" Target="../ink/ink149.xml"/><Relationship Id="rId322" Type="http://schemas.openxmlformats.org/officeDocument/2006/relationships/image" Target="../media/image160.png"/><Relationship Id="rId61" Type="http://schemas.openxmlformats.org/officeDocument/2006/relationships/customXml" Target="../ink/ink29.xml"/><Relationship Id="rId82" Type="http://schemas.openxmlformats.org/officeDocument/2006/relationships/image" Target="../media/image40.png"/><Relationship Id="rId199" Type="http://schemas.openxmlformats.org/officeDocument/2006/relationships/customXml" Target="../ink/ink98.xml"/><Relationship Id="rId203" Type="http://schemas.openxmlformats.org/officeDocument/2006/relationships/customXml" Target="../ink/ink100.xml"/><Relationship Id="rId19" Type="http://schemas.openxmlformats.org/officeDocument/2006/relationships/customXml" Target="../ink/ink8.xml"/><Relationship Id="rId224" Type="http://schemas.openxmlformats.org/officeDocument/2006/relationships/image" Target="../media/image111.png"/><Relationship Id="rId245" Type="http://schemas.openxmlformats.org/officeDocument/2006/relationships/customXml" Target="../ink/ink121.xml"/><Relationship Id="rId266" Type="http://schemas.openxmlformats.org/officeDocument/2006/relationships/image" Target="../media/image132.png"/><Relationship Id="rId287" Type="http://schemas.openxmlformats.org/officeDocument/2006/relationships/customXml" Target="../ink/ink142.xml"/><Relationship Id="rId30" Type="http://schemas.openxmlformats.org/officeDocument/2006/relationships/image" Target="../media/image14.png"/><Relationship Id="rId105" Type="http://schemas.openxmlformats.org/officeDocument/2006/relationships/customXml" Target="../ink/ink51.xml"/><Relationship Id="rId126" Type="http://schemas.openxmlformats.org/officeDocument/2006/relationships/image" Target="../media/image62.png"/><Relationship Id="rId147" Type="http://schemas.openxmlformats.org/officeDocument/2006/relationships/customXml" Target="../ink/ink72.xml"/><Relationship Id="rId168" Type="http://schemas.openxmlformats.org/officeDocument/2006/relationships/image" Target="../media/image83.png"/><Relationship Id="rId312" Type="http://schemas.openxmlformats.org/officeDocument/2006/relationships/image" Target="../media/image155.png"/><Relationship Id="rId51" Type="http://schemas.openxmlformats.org/officeDocument/2006/relationships/customXml" Target="../ink/ink24.xml"/><Relationship Id="rId72" Type="http://schemas.openxmlformats.org/officeDocument/2006/relationships/image" Target="../media/image35.png"/><Relationship Id="rId93" Type="http://schemas.openxmlformats.org/officeDocument/2006/relationships/customXml" Target="../ink/ink45.xml"/><Relationship Id="rId189" Type="http://schemas.openxmlformats.org/officeDocument/2006/relationships/customXml" Target="../ink/ink93.xml"/><Relationship Id="rId3" Type="http://schemas.openxmlformats.org/officeDocument/2006/relationships/oleObject" Target="../embeddings/oleObject2.bin"/><Relationship Id="rId214" Type="http://schemas.openxmlformats.org/officeDocument/2006/relationships/image" Target="../media/image106.png"/><Relationship Id="rId235" Type="http://schemas.openxmlformats.org/officeDocument/2006/relationships/customXml" Target="../ink/ink116.xml"/><Relationship Id="rId256" Type="http://schemas.openxmlformats.org/officeDocument/2006/relationships/image" Target="../media/image127.png"/><Relationship Id="rId277" Type="http://schemas.openxmlformats.org/officeDocument/2006/relationships/customXml" Target="../ink/ink137.xml"/><Relationship Id="rId298" Type="http://schemas.openxmlformats.org/officeDocument/2006/relationships/image" Target="../media/image148.png"/><Relationship Id="rId116" Type="http://schemas.openxmlformats.org/officeDocument/2006/relationships/image" Target="../media/image57.png"/><Relationship Id="rId137" Type="http://schemas.openxmlformats.org/officeDocument/2006/relationships/customXml" Target="../ink/ink67.xml"/><Relationship Id="rId158" Type="http://schemas.openxmlformats.org/officeDocument/2006/relationships/image" Target="../media/image78.png"/><Relationship Id="rId302" Type="http://schemas.openxmlformats.org/officeDocument/2006/relationships/image" Target="../media/image150.png"/><Relationship Id="rId20" Type="http://schemas.openxmlformats.org/officeDocument/2006/relationships/image" Target="../media/image9.png"/><Relationship Id="rId41" Type="http://schemas.openxmlformats.org/officeDocument/2006/relationships/customXml" Target="../ink/ink19.xml"/><Relationship Id="rId62" Type="http://schemas.openxmlformats.org/officeDocument/2006/relationships/image" Target="../media/image30.png"/><Relationship Id="rId83" Type="http://schemas.openxmlformats.org/officeDocument/2006/relationships/customXml" Target="../ink/ink40.xml"/><Relationship Id="rId179" Type="http://schemas.openxmlformats.org/officeDocument/2006/relationships/customXml" Target="../ink/ink88.xml"/><Relationship Id="rId190" Type="http://schemas.openxmlformats.org/officeDocument/2006/relationships/image" Target="../media/image94.png"/><Relationship Id="rId204" Type="http://schemas.openxmlformats.org/officeDocument/2006/relationships/image" Target="../media/image101.png"/><Relationship Id="rId225" Type="http://schemas.openxmlformats.org/officeDocument/2006/relationships/customXml" Target="../ink/ink111.xml"/><Relationship Id="rId246" Type="http://schemas.openxmlformats.org/officeDocument/2006/relationships/image" Target="../media/image122.png"/><Relationship Id="rId267" Type="http://schemas.openxmlformats.org/officeDocument/2006/relationships/customXml" Target="../ink/ink132.xml"/><Relationship Id="rId288" Type="http://schemas.openxmlformats.org/officeDocument/2006/relationships/image" Target="../media/image143.png"/><Relationship Id="rId106" Type="http://schemas.openxmlformats.org/officeDocument/2006/relationships/image" Target="../media/image52.png"/><Relationship Id="rId127" Type="http://schemas.openxmlformats.org/officeDocument/2006/relationships/customXml" Target="../ink/ink62.xml"/><Relationship Id="rId313" Type="http://schemas.openxmlformats.org/officeDocument/2006/relationships/customXml" Target="../ink/ink155.xml"/><Relationship Id="rId10" Type="http://schemas.openxmlformats.org/officeDocument/2006/relationships/image" Target="../media/image4.png"/><Relationship Id="rId31" Type="http://schemas.openxmlformats.org/officeDocument/2006/relationships/customXml" Target="../ink/ink14.xml"/><Relationship Id="rId52" Type="http://schemas.openxmlformats.org/officeDocument/2006/relationships/image" Target="../media/image25.png"/><Relationship Id="rId73" Type="http://schemas.openxmlformats.org/officeDocument/2006/relationships/customXml" Target="../ink/ink35.xml"/><Relationship Id="rId94" Type="http://schemas.openxmlformats.org/officeDocument/2006/relationships/image" Target="../media/image46.png"/><Relationship Id="rId148" Type="http://schemas.openxmlformats.org/officeDocument/2006/relationships/image" Target="../media/image73.png"/><Relationship Id="rId169" Type="http://schemas.openxmlformats.org/officeDocument/2006/relationships/customXml" Target="../ink/ink83.xml"/><Relationship Id="rId4" Type="http://schemas.openxmlformats.org/officeDocument/2006/relationships/image" Target="../media/image1.emf"/><Relationship Id="rId180" Type="http://schemas.openxmlformats.org/officeDocument/2006/relationships/image" Target="../media/image89.png"/><Relationship Id="rId215" Type="http://schemas.openxmlformats.org/officeDocument/2006/relationships/customXml" Target="../ink/ink106.xml"/><Relationship Id="rId236" Type="http://schemas.openxmlformats.org/officeDocument/2006/relationships/image" Target="../media/image117.png"/><Relationship Id="rId257" Type="http://schemas.openxmlformats.org/officeDocument/2006/relationships/customXml" Target="../ink/ink127.xml"/><Relationship Id="rId278" Type="http://schemas.openxmlformats.org/officeDocument/2006/relationships/image" Target="../media/image138.png"/><Relationship Id="rId303" Type="http://schemas.openxmlformats.org/officeDocument/2006/relationships/customXml" Target="../ink/ink150.xml"/><Relationship Id="rId42" Type="http://schemas.openxmlformats.org/officeDocument/2006/relationships/image" Target="../media/image20.png"/><Relationship Id="rId84" Type="http://schemas.openxmlformats.org/officeDocument/2006/relationships/image" Target="../media/image41.png"/><Relationship Id="rId138" Type="http://schemas.openxmlformats.org/officeDocument/2006/relationships/image" Target="../media/image68.png"/><Relationship Id="rId191" Type="http://schemas.openxmlformats.org/officeDocument/2006/relationships/customXml" Target="../ink/ink94.xml"/><Relationship Id="rId205" Type="http://schemas.openxmlformats.org/officeDocument/2006/relationships/customXml" Target="../ink/ink101.xml"/><Relationship Id="rId247" Type="http://schemas.openxmlformats.org/officeDocument/2006/relationships/customXml" Target="../ink/ink122.xml"/><Relationship Id="rId107" Type="http://schemas.openxmlformats.org/officeDocument/2006/relationships/customXml" Target="../ink/ink52.xml"/><Relationship Id="rId289" Type="http://schemas.openxmlformats.org/officeDocument/2006/relationships/customXml" Target="../ink/ink143.xml"/><Relationship Id="rId11" Type="http://schemas.openxmlformats.org/officeDocument/2006/relationships/customXml" Target="../ink/ink4.xml"/><Relationship Id="rId53" Type="http://schemas.openxmlformats.org/officeDocument/2006/relationships/customXml" Target="../ink/ink25.xml"/><Relationship Id="rId149" Type="http://schemas.openxmlformats.org/officeDocument/2006/relationships/customXml" Target="../ink/ink73.xml"/><Relationship Id="rId314" Type="http://schemas.openxmlformats.org/officeDocument/2006/relationships/image" Target="../media/image156.png"/><Relationship Id="rId95" Type="http://schemas.openxmlformats.org/officeDocument/2006/relationships/customXml" Target="../ink/ink46.xml"/><Relationship Id="rId160" Type="http://schemas.openxmlformats.org/officeDocument/2006/relationships/image" Target="../media/image79.png"/><Relationship Id="rId216" Type="http://schemas.openxmlformats.org/officeDocument/2006/relationships/image" Target="../media/image107.png"/><Relationship Id="rId258" Type="http://schemas.openxmlformats.org/officeDocument/2006/relationships/image" Target="../media/image128.png"/><Relationship Id="rId22" Type="http://schemas.openxmlformats.org/officeDocument/2006/relationships/image" Target="../media/image10.png"/><Relationship Id="rId64" Type="http://schemas.openxmlformats.org/officeDocument/2006/relationships/image" Target="../media/image31.png"/><Relationship Id="rId118" Type="http://schemas.openxmlformats.org/officeDocument/2006/relationships/image" Target="../media/image58.png"/><Relationship Id="rId171" Type="http://schemas.openxmlformats.org/officeDocument/2006/relationships/customXml" Target="../ink/ink84.xml"/><Relationship Id="rId227" Type="http://schemas.openxmlformats.org/officeDocument/2006/relationships/customXml" Target="../ink/ink112.xml"/><Relationship Id="rId269" Type="http://schemas.openxmlformats.org/officeDocument/2006/relationships/customXml" Target="../ink/ink133.xml"/><Relationship Id="rId33" Type="http://schemas.openxmlformats.org/officeDocument/2006/relationships/customXml" Target="../ink/ink15.xml"/><Relationship Id="rId129" Type="http://schemas.openxmlformats.org/officeDocument/2006/relationships/customXml" Target="../ink/ink63.xml"/><Relationship Id="rId280" Type="http://schemas.openxmlformats.org/officeDocument/2006/relationships/image" Target="../media/image139.png"/><Relationship Id="rId75" Type="http://schemas.openxmlformats.org/officeDocument/2006/relationships/customXml" Target="../ink/ink36.xml"/><Relationship Id="rId140" Type="http://schemas.openxmlformats.org/officeDocument/2006/relationships/image" Target="../media/image69.png"/><Relationship Id="rId182" Type="http://schemas.openxmlformats.org/officeDocument/2006/relationships/image" Target="../media/image90.png"/><Relationship Id="rId6" Type="http://schemas.openxmlformats.org/officeDocument/2006/relationships/image" Target="../media/image2.png"/><Relationship Id="rId238" Type="http://schemas.openxmlformats.org/officeDocument/2006/relationships/image" Target="../media/image118.png"/><Relationship Id="rId291" Type="http://schemas.openxmlformats.org/officeDocument/2006/relationships/customXml" Target="../ink/ink144.xml"/><Relationship Id="rId305" Type="http://schemas.openxmlformats.org/officeDocument/2006/relationships/customXml" Target="../ink/ink151.xml"/><Relationship Id="rId44" Type="http://schemas.openxmlformats.org/officeDocument/2006/relationships/image" Target="../media/image21.png"/><Relationship Id="rId86" Type="http://schemas.openxmlformats.org/officeDocument/2006/relationships/image" Target="../media/image42.png"/><Relationship Id="rId151" Type="http://schemas.openxmlformats.org/officeDocument/2006/relationships/customXml" Target="../ink/ink74.xml"/><Relationship Id="rId193" Type="http://schemas.openxmlformats.org/officeDocument/2006/relationships/customXml" Target="../ink/ink95.xml"/><Relationship Id="rId207" Type="http://schemas.openxmlformats.org/officeDocument/2006/relationships/customXml" Target="../ink/ink102.xml"/><Relationship Id="rId249" Type="http://schemas.openxmlformats.org/officeDocument/2006/relationships/customXml" Target="../ink/ink123.xml"/><Relationship Id="rId13" Type="http://schemas.openxmlformats.org/officeDocument/2006/relationships/customXml" Target="../ink/ink5.xml"/><Relationship Id="rId109" Type="http://schemas.openxmlformats.org/officeDocument/2006/relationships/customXml" Target="../ink/ink53.xml"/><Relationship Id="rId260" Type="http://schemas.openxmlformats.org/officeDocument/2006/relationships/image" Target="../media/image129.png"/><Relationship Id="rId316" Type="http://schemas.openxmlformats.org/officeDocument/2006/relationships/image" Target="../media/image157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customXml" Target="../ink/ink216.xml"/><Relationship Id="rId299" Type="http://schemas.openxmlformats.org/officeDocument/2006/relationships/customXml" Target="../ink/ink307.xml"/><Relationship Id="rId21" Type="http://schemas.openxmlformats.org/officeDocument/2006/relationships/customXml" Target="../ink/ink168.xml"/><Relationship Id="rId63" Type="http://schemas.openxmlformats.org/officeDocument/2006/relationships/customXml" Target="../ink/ink189.xml"/><Relationship Id="rId159" Type="http://schemas.openxmlformats.org/officeDocument/2006/relationships/customXml" Target="../ink/ink237.xml"/><Relationship Id="rId324" Type="http://schemas.openxmlformats.org/officeDocument/2006/relationships/image" Target="../media/image320.png"/><Relationship Id="rId170" Type="http://schemas.openxmlformats.org/officeDocument/2006/relationships/image" Target="../media/image243.png"/><Relationship Id="rId226" Type="http://schemas.openxmlformats.org/officeDocument/2006/relationships/image" Target="../media/image271.png"/><Relationship Id="rId268" Type="http://schemas.openxmlformats.org/officeDocument/2006/relationships/image" Target="../media/image292.png"/><Relationship Id="rId32" Type="http://schemas.openxmlformats.org/officeDocument/2006/relationships/image" Target="../media/image174.png"/><Relationship Id="rId74" Type="http://schemas.openxmlformats.org/officeDocument/2006/relationships/image" Target="../media/image195.png"/><Relationship Id="rId128" Type="http://schemas.openxmlformats.org/officeDocument/2006/relationships/image" Target="../media/image222.png"/><Relationship Id="rId335" Type="http://schemas.openxmlformats.org/officeDocument/2006/relationships/customXml" Target="../ink/ink325.xml"/><Relationship Id="rId5" Type="http://schemas.openxmlformats.org/officeDocument/2006/relationships/customXml" Target="../ink/ink160.xml"/><Relationship Id="rId181" Type="http://schemas.openxmlformats.org/officeDocument/2006/relationships/customXml" Target="../ink/ink248.xml"/><Relationship Id="rId237" Type="http://schemas.openxmlformats.org/officeDocument/2006/relationships/customXml" Target="../ink/ink276.xml"/><Relationship Id="rId279" Type="http://schemas.openxmlformats.org/officeDocument/2006/relationships/customXml" Target="../ink/ink297.xml"/><Relationship Id="rId43" Type="http://schemas.openxmlformats.org/officeDocument/2006/relationships/customXml" Target="../ink/ink179.xml"/><Relationship Id="rId139" Type="http://schemas.openxmlformats.org/officeDocument/2006/relationships/customXml" Target="../ink/ink227.xml"/><Relationship Id="rId290" Type="http://schemas.openxmlformats.org/officeDocument/2006/relationships/image" Target="../media/image303.png"/><Relationship Id="rId304" Type="http://schemas.openxmlformats.org/officeDocument/2006/relationships/image" Target="../media/image310.png"/><Relationship Id="rId85" Type="http://schemas.openxmlformats.org/officeDocument/2006/relationships/customXml" Target="../ink/ink200.xml"/><Relationship Id="rId150" Type="http://schemas.openxmlformats.org/officeDocument/2006/relationships/image" Target="../media/image233.png"/><Relationship Id="rId192" Type="http://schemas.openxmlformats.org/officeDocument/2006/relationships/image" Target="../media/image254.png"/><Relationship Id="rId206" Type="http://schemas.openxmlformats.org/officeDocument/2006/relationships/image" Target="../media/image261.png"/><Relationship Id="rId248" Type="http://schemas.openxmlformats.org/officeDocument/2006/relationships/image" Target="../media/image282.png"/><Relationship Id="rId12" Type="http://schemas.openxmlformats.org/officeDocument/2006/relationships/image" Target="../media/image164.png"/><Relationship Id="rId108" Type="http://schemas.openxmlformats.org/officeDocument/2006/relationships/image" Target="../media/image212.png"/><Relationship Id="rId315" Type="http://schemas.openxmlformats.org/officeDocument/2006/relationships/customXml" Target="../ink/ink315.xml"/><Relationship Id="rId54" Type="http://schemas.openxmlformats.org/officeDocument/2006/relationships/image" Target="../media/image185.png"/><Relationship Id="rId96" Type="http://schemas.openxmlformats.org/officeDocument/2006/relationships/image" Target="../media/image206.png"/><Relationship Id="rId161" Type="http://schemas.openxmlformats.org/officeDocument/2006/relationships/customXml" Target="../ink/ink238.xml"/><Relationship Id="rId217" Type="http://schemas.openxmlformats.org/officeDocument/2006/relationships/customXml" Target="../ink/ink266.xml"/><Relationship Id="rId259" Type="http://schemas.openxmlformats.org/officeDocument/2006/relationships/customXml" Target="../ink/ink287.xml"/><Relationship Id="rId23" Type="http://schemas.openxmlformats.org/officeDocument/2006/relationships/customXml" Target="../ink/ink169.xml"/><Relationship Id="rId119" Type="http://schemas.openxmlformats.org/officeDocument/2006/relationships/customXml" Target="../ink/ink217.xml"/><Relationship Id="rId270" Type="http://schemas.openxmlformats.org/officeDocument/2006/relationships/image" Target="../media/image293.png"/><Relationship Id="rId326" Type="http://schemas.openxmlformats.org/officeDocument/2006/relationships/image" Target="../media/image321.png"/><Relationship Id="rId65" Type="http://schemas.openxmlformats.org/officeDocument/2006/relationships/customXml" Target="../ink/ink190.xml"/><Relationship Id="rId130" Type="http://schemas.openxmlformats.org/officeDocument/2006/relationships/image" Target="../media/image223.png"/><Relationship Id="rId172" Type="http://schemas.openxmlformats.org/officeDocument/2006/relationships/image" Target="../media/image244.png"/><Relationship Id="rId228" Type="http://schemas.openxmlformats.org/officeDocument/2006/relationships/image" Target="../media/image272.png"/><Relationship Id="rId281" Type="http://schemas.openxmlformats.org/officeDocument/2006/relationships/customXml" Target="../ink/ink298.xml"/><Relationship Id="rId337" Type="http://schemas.openxmlformats.org/officeDocument/2006/relationships/customXml" Target="../ink/ink326.xml"/><Relationship Id="rId34" Type="http://schemas.openxmlformats.org/officeDocument/2006/relationships/image" Target="../media/image175.png"/><Relationship Id="rId76" Type="http://schemas.openxmlformats.org/officeDocument/2006/relationships/image" Target="../media/image196.png"/><Relationship Id="rId141" Type="http://schemas.openxmlformats.org/officeDocument/2006/relationships/customXml" Target="../ink/ink228.xml"/><Relationship Id="rId7" Type="http://schemas.openxmlformats.org/officeDocument/2006/relationships/customXml" Target="../ink/ink161.xml"/><Relationship Id="rId183" Type="http://schemas.openxmlformats.org/officeDocument/2006/relationships/customXml" Target="../ink/ink249.xml"/><Relationship Id="rId239" Type="http://schemas.openxmlformats.org/officeDocument/2006/relationships/customXml" Target="../ink/ink277.xml"/><Relationship Id="rId250" Type="http://schemas.openxmlformats.org/officeDocument/2006/relationships/image" Target="../media/image283.png"/><Relationship Id="rId292" Type="http://schemas.openxmlformats.org/officeDocument/2006/relationships/image" Target="../media/image304.png"/><Relationship Id="rId306" Type="http://schemas.openxmlformats.org/officeDocument/2006/relationships/image" Target="../media/image311.png"/><Relationship Id="rId45" Type="http://schemas.openxmlformats.org/officeDocument/2006/relationships/customXml" Target="../ink/ink180.xml"/><Relationship Id="rId87" Type="http://schemas.openxmlformats.org/officeDocument/2006/relationships/customXml" Target="../ink/ink201.xml"/><Relationship Id="rId110" Type="http://schemas.openxmlformats.org/officeDocument/2006/relationships/image" Target="../media/image213.png"/><Relationship Id="rId152" Type="http://schemas.openxmlformats.org/officeDocument/2006/relationships/image" Target="../media/image234.png"/><Relationship Id="rId173" Type="http://schemas.openxmlformats.org/officeDocument/2006/relationships/customXml" Target="../ink/ink244.xml"/><Relationship Id="rId194" Type="http://schemas.openxmlformats.org/officeDocument/2006/relationships/image" Target="../media/image255.png"/><Relationship Id="rId208" Type="http://schemas.openxmlformats.org/officeDocument/2006/relationships/image" Target="../media/image262.png"/><Relationship Id="rId229" Type="http://schemas.openxmlformats.org/officeDocument/2006/relationships/customXml" Target="../ink/ink272.xml"/><Relationship Id="rId240" Type="http://schemas.openxmlformats.org/officeDocument/2006/relationships/image" Target="../media/image278.png"/><Relationship Id="rId261" Type="http://schemas.openxmlformats.org/officeDocument/2006/relationships/customXml" Target="../ink/ink288.xml"/><Relationship Id="rId14" Type="http://schemas.openxmlformats.org/officeDocument/2006/relationships/image" Target="../media/image165.png"/><Relationship Id="rId35" Type="http://schemas.openxmlformats.org/officeDocument/2006/relationships/customXml" Target="../ink/ink175.xml"/><Relationship Id="rId56" Type="http://schemas.openxmlformats.org/officeDocument/2006/relationships/image" Target="../media/image186.png"/><Relationship Id="rId77" Type="http://schemas.openxmlformats.org/officeDocument/2006/relationships/customXml" Target="../ink/ink196.xml"/><Relationship Id="rId100" Type="http://schemas.openxmlformats.org/officeDocument/2006/relationships/image" Target="../media/image208.png"/><Relationship Id="rId282" Type="http://schemas.openxmlformats.org/officeDocument/2006/relationships/image" Target="../media/image299.png"/><Relationship Id="rId317" Type="http://schemas.openxmlformats.org/officeDocument/2006/relationships/customXml" Target="../ink/ink316.xml"/><Relationship Id="rId338" Type="http://schemas.openxmlformats.org/officeDocument/2006/relationships/image" Target="../media/image327.png"/><Relationship Id="rId8" Type="http://schemas.openxmlformats.org/officeDocument/2006/relationships/image" Target="../media/image162.png"/><Relationship Id="rId98" Type="http://schemas.openxmlformats.org/officeDocument/2006/relationships/image" Target="../media/image207.png"/><Relationship Id="rId121" Type="http://schemas.openxmlformats.org/officeDocument/2006/relationships/customXml" Target="../ink/ink218.xml"/><Relationship Id="rId142" Type="http://schemas.openxmlformats.org/officeDocument/2006/relationships/image" Target="../media/image229.png"/><Relationship Id="rId163" Type="http://schemas.openxmlformats.org/officeDocument/2006/relationships/customXml" Target="../ink/ink239.xml"/><Relationship Id="rId184" Type="http://schemas.openxmlformats.org/officeDocument/2006/relationships/image" Target="../media/image250.png"/><Relationship Id="rId219" Type="http://schemas.openxmlformats.org/officeDocument/2006/relationships/customXml" Target="../ink/ink267.xml"/><Relationship Id="rId230" Type="http://schemas.openxmlformats.org/officeDocument/2006/relationships/image" Target="../media/image273.png"/><Relationship Id="rId251" Type="http://schemas.openxmlformats.org/officeDocument/2006/relationships/customXml" Target="../ink/ink283.xml"/><Relationship Id="rId25" Type="http://schemas.openxmlformats.org/officeDocument/2006/relationships/customXml" Target="../ink/ink170.xml"/><Relationship Id="rId46" Type="http://schemas.openxmlformats.org/officeDocument/2006/relationships/image" Target="../media/image181.png"/><Relationship Id="rId67" Type="http://schemas.openxmlformats.org/officeDocument/2006/relationships/customXml" Target="../ink/ink191.xml"/><Relationship Id="rId272" Type="http://schemas.openxmlformats.org/officeDocument/2006/relationships/image" Target="../media/image294.png"/><Relationship Id="rId293" Type="http://schemas.openxmlformats.org/officeDocument/2006/relationships/customXml" Target="../ink/ink304.xml"/><Relationship Id="rId307" Type="http://schemas.openxmlformats.org/officeDocument/2006/relationships/customXml" Target="../ink/ink311.xml"/><Relationship Id="rId328" Type="http://schemas.openxmlformats.org/officeDocument/2006/relationships/image" Target="../media/image322.png"/><Relationship Id="rId88" Type="http://schemas.openxmlformats.org/officeDocument/2006/relationships/image" Target="../media/image202.png"/><Relationship Id="rId111" Type="http://schemas.openxmlformats.org/officeDocument/2006/relationships/customXml" Target="../ink/ink213.xml"/><Relationship Id="rId132" Type="http://schemas.openxmlformats.org/officeDocument/2006/relationships/image" Target="../media/image224.png"/><Relationship Id="rId153" Type="http://schemas.openxmlformats.org/officeDocument/2006/relationships/customXml" Target="../ink/ink234.xml"/><Relationship Id="rId174" Type="http://schemas.openxmlformats.org/officeDocument/2006/relationships/image" Target="../media/image245.png"/><Relationship Id="rId195" Type="http://schemas.openxmlformats.org/officeDocument/2006/relationships/customXml" Target="../ink/ink255.xml"/><Relationship Id="rId209" Type="http://schemas.openxmlformats.org/officeDocument/2006/relationships/customXml" Target="../ink/ink262.xml"/><Relationship Id="rId220" Type="http://schemas.openxmlformats.org/officeDocument/2006/relationships/image" Target="../media/image268.png"/><Relationship Id="rId241" Type="http://schemas.openxmlformats.org/officeDocument/2006/relationships/customXml" Target="../ink/ink278.xml"/><Relationship Id="rId15" Type="http://schemas.openxmlformats.org/officeDocument/2006/relationships/customXml" Target="../ink/ink165.xml"/><Relationship Id="rId36" Type="http://schemas.openxmlformats.org/officeDocument/2006/relationships/image" Target="../media/image176.png"/><Relationship Id="rId57" Type="http://schemas.openxmlformats.org/officeDocument/2006/relationships/customXml" Target="../ink/ink186.xml"/><Relationship Id="rId262" Type="http://schemas.openxmlformats.org/officeDocument/2006/relationships/image" Target="../media/image289.png"/><Relationship Id="rId283" Type="http://schemas.openxmlformats.org/officeDocument/2006/relationships/customXml" Target="../ink/ink299.xml"/><Relationship Id="rId318" Type="http://schemas.openxmlformats.org/officeDocument/2006/relationships/image" Target="../media/image317.png"/><Relationship Id="rId339" Type="http://schemas.openxmlformats.org/officeDocument/2006/relationships/customXml" Target="../ink/ink327.xml"/><Relationship Id="rId78" Type="http://schemas.openxmlformats.org/officeDocument/2006/relationships/image" Target="../media/image197.png"/><Relationship Id="rId99" Type="http://schemas.openxmlformats.org/officeDocument/2006/relationships/customXml" Target="../ink/ink207.xml"/><Relationship Id="rId101" Type="http://schemas.openxmlformats.org/officeDocument/2006/relationships/customXml" Target="../ink/ink208.xml"/><Relationship Id="rId122" Type="http://schemas.openxmlformats.org/officeDocument/2006/relationships/image" Target="../media/image219.png"/><Relationship Id="rId143" Type="http://schemas.openxmlformats.org/officeDocument/2006/relationships/customXml" Target="../ink/ink229.xml"/><Relationship Id="rId164" Type="http://schemas.openxmlformats.org/officeDocument/2006/relationships/image" Target="../media/image240.png"/><Relationship Id="rId185" Type="http://schemas.openxmlformats.org/officeDocument/2006/relationships/customXml" Target="../ink/ink250.xml"/><Relationship Id="rId9" Type="http://schemas.openxmlformats.org/officeDocument/2006/relationships/customXml" Target="../ink/ink162.xml"/><Relationship Id="rId210" Type="http://schemas.openxmlformats.org/officeDocument/2006/relationships/image" Target="../media/image263.png"/><Relationship Id="rId26" Type="http://schemas.openxmlformats.org/officeDocument/2006/relationships/image" Target="../media/image171.png"/><Relationship Id="rId231" Type="http://schemas.openxmlformats.org/officeDocument/2006/relationships/customXml" Target="../ink/ink273.xml"/><Relationship Id="rId252" Type="http://schemas.openxmlformats.org/officeDocument/2006/relationships/image" Target="../media/image284.png"/><Relationship Id="rId273" Type="http://schemas.openxmlformats.org/officeDocument/2006/relationships/customXml" Target="../ink/ink294.xml"/><Relationship Id="rId294" Type="http://schemas.openxmlformats.org/officeDocument/2006/relationships/image" Target="../media/image305.png"/><Relationship Id="rId308" Type="http://schemas.openxmlformats.org/officeDocument/2006/relationships/image" Target="../media/image312.png"/><Relationship Id="rId329" Type="http://schemas.openxmlformats.org/officeDocument/2006/relationships/customXml" Target="../ink/ink322.xml"/><Relationship Id="rId47" Type="http://schemas.openxmlformats.org/officeDocument/2006/relationships/customXml" Target="../ink/ink181.xml"/><Relationship Id="rId68" Type="http://schemas.openxmlformats.org/officeDocument/2006/relationships/image" Target="../media/image192.png"/><Relationship Id="rId89" Type="http://schemas.openxmlformats.org/officeDocument/2006/relationships/customXml" Target="../ink/ink202.xml"/><Relationship Id="rId112" Type="http://schemas.openxmlformats.org/officeDocument/2006/relationships/image" Target="../media/image214.png"/><Relationship Id="rId133" Type="http://schemas.openxmlformats.org/officeDocument/2006/relationships/customXml" Target="../ink/ink224.xml"/><Relationship Id="rId154" Type="http://schemas.openxmlformats.org/officeDocument/2006/relationships/image" Target="../media/image235.png"/><Relationship Id="rId175" Type="http://schemas.openxmlformats.org/officeDocument/2006/relationships/customXml" Target="../ink/ink245.xml"/><Relationship Id="rId340" Type="http://schemas.openxmlformats.org/officeDocument/2006/relationships/image" Target="../media/image328.png"/><Relationship Id="rId196" Type="http://schemas.openxmlformats.org/officeDocument/2006/relationships/image" Target="../media/image256.png"/><Relationship Id="rId200" Type="http://schemas.openxmlformats.org/officeDocument/2006/relationships/image" Target="../media/image258.png"/><Relationship Id="rId16" Type="http://schemas.openxmlformats.org/officeDocument/2006/relationships/image" Target="../media/image166.png"/><Relationship Id="rId221" Type="http://schemas.openxmlformats.org/officeDocument/2006/relationships/customXml" Target="../ink/ink268.xml"/><Relationship Id="rId242" Type="http://schemas.openxmlformats.org/officeDocument/2006/relationships/image" Target="../media/image279.png"/><Relationship Id="rId263" Type="http://schemas.openxmlformats.org/officeDocument/2006/relationships/customXml" Target="../ink/ink289.xml"/><Relationship Id="rId284" Type="http://schemas.openxmlformats.org/officeDocument/2006/relationships/image" Target="../media/image300.png"/><Relationship Id="rId319" Type="http://schemas.openxmlformats.org/officeDocument/2006/relationships/customXml" Target="../ink/ink317.xml"/><Relationship Id="rId37" Type="http://schemas.openxmlformats.org/officeDocument/2006/relationships/customXml" Target="../ink/ink176.xml"/><Relationship Id="rId58" Type="http://schemas.openxmlformats.org/officeDocument/2006/relationships/image" Target="../media/image187.png"/><Relationship Id="rId79" Type="http://schemas.openxmlformats.org/officeDocument/2006/relationships/customXml" Target="../ink/ink197.xml"/><Relationship Id="rId102" Type="http://schemas.openxmlformats.org/officeDocument/2006/relationships/image" Target="../media/image209.png"/><Relationship Id="rId123" Type="http://schemas.openxmlformats.org/officeDocument/2006/relationships/customXml" Target="../ink/ink219.xml"/><Relationship Id="rId144" Type="http://schemas.openxmlformats.org/officeDocument/2006/relationships/image" Target="../media/image230.png"/><Relationship Id="rId330" Type="http://schemas.openxmlformats.org/officeDocument/2006/relationships/image" Target="../media/image323.png"/><Relationship Id="rId90" Type="http://schemas.openxmlformats.org/officeDocument/2006/relationships/image" Target="../media/image203.png"/><Relationship Id="rId165" Type="http://schemas.openxmlformats.org/officeDocument/2006/relationships/customXml" Target="../ink/ink240.xml"/><Relationship Id="rId186" Type="http://schemas.openxmlformats.org/officeDocument/2006/relationships/image" Target="../media/image251.png"/><Relationship Id="rId211" Type="http://schemas.openxmlformats.org/officeDocument/2006/relationships/customXml" Target="../ink/ink263.xml"/><Relationship Id="rId232" Type="http://schemas.openxmlformats.org/officeDocument/2006/relationships/image" Target="../media/image274.png"/><Relationship Id="rId253" Type="http://schemas.openxmlformats.org/officeDocument/2006/relationships/customXml" Target="../ink/ink284.xml"/><Relationship Id="rId274" Type="http://schemas.openxmlformats.org/officeDocument/2006/relationships/image" Target="../media/image295.png"/><Relationship Id="rId295" Type="http://schemas.openxmlformats.org/officeDocument/2006/relationships/customXml" Target="../ink/ink305.xml"/><Relationship Id="rId309" Type="http://schemas.openxmlformats.org/officeDocument/2006/relationships/customXml" Target="../ink/ink312.xml"/><Relationship Id="rId27" Type="http://schemas.openxmlformats.org/officeDocument/2006/relationships/customXml" Target="../ink/ink171.xml"/><Relationship Id="rId48" Type="http://schemas.openxmlformats.org/officeDocument/2006/relationships/image" Target="../media/image182.png"/><Relationship Id="rId69" Type="http://schemas.openxmlformats.org/officeDocument/2006/relationships/customXml" Target="../ink/ink192.xml"/><Relationship Id="rId113" Type="http://schemas.openxmlformats.org/officeDocument/2006/relationships/customXml" Target="../ink/ink214.xml"/><Relationship Id="rId134" Type="http://schemas.openxmlformats.org/officeDocument/2006/relationships/image" Target="../media/image225.png"/><Relationship Id="rId320" Type="http://schemas.openxmlformats.org/officeDocument/2006/relationships/image" Target="../media/image318.png"/><Relationship Id="rId80" Type="http://schemas.openxmlformats.org/officeDocument/2006/relationships/image" Target="../media/image198.png"/><Relationship Id="rId155" Type="http://schemas.openxmlformats.org/officeDocument/2006/relationships/customXml" Target="../ink/ink235.xml"/><Relationship Id="rId176" Type="http://schemas.openxmlformats.org/officeDocument/2006/relationships/image" Target="../media/image246.png"/><Relationship Id="rId197" Type="http://schemas.openxmlformats.org/officeDocument/2006/relationships/customXml" Target="../ink/ink256.xml"/><Relationship Id="rId201" Type="http://schemas.openxmlformats.org/officeDocument/2006/relationships/customXml" Target="../ink/ink258.xml"/><Relationship Id="rId222" Type="http://schemas.openxmlformats.org/officeDocument/2006/relationships/image" Target="../media/image269.png"/><Relationship Id="rId243" Type="http://schemas.openxmlformats.org/officeDocument/2006/relationships/customXml" Target="../ink/ink279.xml"/><Relationship Id="rId264" Type="http://schemas.openxmlformats.org/officeDocument/2006/relationships/image" Target="../media/image290.png"/><Relationship Id="rId285" Type="http://schemas.openxmlformats.org/officeDocument/2006/relationships/customXml" Target="../ink/ink300.xml"/><Relationship Id="rId17" Type="http://schemas.openxmlformats.org/officeDocument/2006/relationships/customXml" Target="../ink/ink166.xml"/><Relationship Id="rId38" Type="http://schemas.openxmlformats.org/officeDocument/2006/relationships/image" Target="../media/image177.png"/><Relationship Id="rId59" Type="http://schemas.openxmlformats.org/officeDocument/2006/relationships/customXml" Target="../ink/ink187.xml"/><Relationship Id="rId103" Type="http://schemas.openxmlformats.org/officeDocument/2006/relationships/customXml" Target="../ink/ink209.xml"/><Relationship Id="rId124" Type="http://schemas.openxmlformats.org/officeDocument/2006/relationships/image" Target="../media/image220.png"/><Relationship Id="rId310" Type="http://schemas.openxmlformats.org/officeDocument/2006/relationships/image" Target="../media/image313.png"/><Relationship Id="rId70" Type="http://schemas.openxmlformats.org/officeDocument/2006/relationships/image" Target="../media/image193.png"/><Relationship Id="rId91" Type="http://schemas.openxmlformats.org/officeDocument/2006/relationships/customXml" Target="../ink/ink203.xml"/><Relationship Id="rId145" Type="http://schemas.openxmlformats.org/officeDocument/2006/relationships/customXml" Target="../ink/ink230.xml"/><Relationship Id="rId166" Type="http://schemas.openxmlformats.org/officeDocument/2006/relationships/image" Target="../media/image241.png"/><Relationship Id="rId187" Type="http://schemas.openxmlformats.org/officeDocument/2006/relationships/customXml" Target="../ink/ink251.xml"/><Relationship Id="rId331" Type="http://schemas.openxmlformats.org/officeDocument/2006/relationships/customXml" Target="../ink/ink323.xml"/><Relationship Id="rId1" Type="http://schemas.openxmlformats.org/officeDocument/2006/relationships/tags" Target="../tags/tag4.xml"/><Relationship Id="rId212" Type="http://schemas.openxmlformats.org/officeDocument/2006/relationships/image" Target="../media/image264.png"/><Relationship Id="rId233" Type="http://schemas.openxmlformats.org/officeDocument/2006/relationships/customXml" Target="../ink/ink274.xml"/><Relationship Id="rId254" Type="http://schemas.openxmlformats.org/officeDocument/2006/relationships/image" Target="../media/image285.png"/><Relationship Id="rId28" Type="http://schemas.openxmlformats.org/officeDocument/2006/relationships/image" Target="../media/image172.png"/><Relationship Id="rId49" Type="http://schemas.openxmlformats.org/officeDocument/2006/relationships/customXml" Target="../ink/ink182.xml"/><Relationship Id="rId114" Type="http://schemas.openxmlformats.org/officeDocument/2006/relationships/image" Target="../media/image215.png"/><Relationship Id="rId275" Type="http://schemas.openxmlformats.org/officeDocument/2006/relationships/customXml" Target="../ink/ink295.xml"/><Relationship Id="rId296" Type="http://schemas.openxmlformats.org/officeDocument/2006/relationships/image" Target="../media/image306.png"/><Relationship Id="rId300" Type="http://schemas.openxmlformats.org/officeDocument/2006/relationships/image" Target="../media/image308.png"/><Relationship Id="rId60" Type="http://schemas.openxmlformats.org/officeDocument/2006/relationships/image" Target="../media/image188.png"/><Relationship Id="rId81" Type="http://schemas.openxmlformats.org/officeDocument/2006/relationships/customXml" Target="../ink/ink198.xml"/><Relationship Id="rId135" Type="http://schemas.openxmlformats.org/officeDocument/2006/relationships/customXml" Target="../ink/ink225.xml"/><Relationship Id="rId156" Type="http://schemas.openxmlformats.org/officeDocument/2006/relationships/image" Target="../media/image236.png"/><Relationship Id="rId177" Type="http://schemas.openxmlformats.org/officeDocument/2006/relationships/customXml" Target="../ink/ink246.xml"/><Relationship Id="rId198" Type="http://schemas.openxmlformats.org/officeDocument/2006/relationships/image" Target="../media/image257.png"/><Relationship Id="rId321" Type="http://schemas.openxmlformats.org/officeDocument/2006/relationships/customXml" Target="../ink/ink318.xml"/><Relationship Id="rId202" Type="http://schemas.openxmlformats.org/officeDocument/2006/relationships/image" Target="../media/image259.png"/><Relationship Id="rId223" Type="http://schemas.openxmlformats.org/officeDocument/2006/relationships/customXml" Target="../ink/ink269.xml"/><Relationship Id="rId244" Type="http://schemas.openxmlformats.org/officeDocument/2006/relationships/image" Target="../media/image280.png"/><Relationship Id="rId18" Type="http://schemas.openxmlformats.org/officeDocument/2006/relationships/image" Target="../media/image167.png"/><Relationship Id="rId39" Type="http://schemas.openxmlformats.org/officeDocument/2006/relationships/customXml" Target="../ink/ink177.xml"/><Relationship Id="rId265" Type="http://schemas.openxmlformats.org/officeDocument/2006/relationships/customXml" Target="../ink/ink290.xml"/><Relationship Id="rId286" Type="http://schemas.openxmlformats.org/officeDocument/2006/relationships/image" Target="../media/image301.png"/><Relationship Id="rId50" Type="http://schemas.openxmlformats.org/officeDocument/2006/relationships/image" Target="../media/image183.png"/><Relationship Id="rId104" Type="http://schemas.openxmlformats.org/officeDocument/2006/relationships/image" Target="../media/image210.png"/><Relationship Id="rId125" Type="http://schemas.openxmlformats.org/officeDocument/2006/relationships/customXml" Target="../ink/ink220.xml"/><Relationship Id="rId146" Type="http://schemas.openxmlformats.org/officeDocument/2006/relationships/image" Target="../media/image231.png"/><Relationship Id="rId167" Type="http://schemas.openxmlformats.org/officeDocument/2006/relationships/customXml" Target="../ink/ink241.xml"/><Relationship Id="rId188" Type="http://schemas.openxmlformats.org/officeDocument/2006/relationships/image" Target="../media/image252.png"/><Relationship Id="rId311" Type="http://schemas.openxmlformats.org/officeDocument/2006/relationships/customXml" Target="../ink/ink313.xml"/><Relationship Id="rId332" Type="http://schemas.openxmlformats.org/officeDocument/2006/relationships/image" Target="../media/image324.png"/><Relationship Id="rId71" Type="http://schemas.openxmlformats.org/officeDocument/2006/relationships/customXml" Target="../ink/ink193.xml"/><Relationship Id="rId92" Type="http://schemas.openxmlformats.org/officeDocument/2006/relationships/image" Target="../media/image204.png"/><Relationship Id="rId213" Type="http://schemas.openxmlformats.org/officeDocument/2006/relationships/customXml" Target="../ink/ink264.xml"/><Relationship Id="rId234" Type="http://schemas.openxmlformats.org/officeDocument/2006/relationships/image" Target="../media/image275.png"/><Relationship Id="rId2" Type="http://schemas.openxmlformats.org/officeDocument/2006/relationships/slideLayout" Target="../slideLayouts/slideLayout2.xml"/><Relationship Id="rId29" Type="http://schemas.openxmlformats.org/officeDocument/2006/relationships/customXml" Target="../ink/ink172.xml"/><Relationship Id="rId255" Type="http://schemas.openxmlformats.org/officeDocument/2006/relationships/customXml" Target="../ink/ink285.xml"/><Relationship Id="rId276" Type="http://schemas.openxmlformats.org/officeDocument/2006/relationships/image" Target="../media/image296.png"/><Relationship Id="rId297" Type="http://schemas.openxmlformats.org/officeDocument/2006/relationships/customXml" Target="../ink/ink306.xml"/><Relationship Id="rId40" Type="http://schemas.openxmlformats.org/officeDocument/2006/relationships/image" Target="../media/image178.png"/><Relationship Id="rId115" Type="http://schemas.openxmlformats.org/officeDocument/2006/relationships/customXml" Target="../ink/ink215.xml"/><Relationship Id="rId136" Type="http://schemas.openxmlformats.org/officeDocument/2006/relationships/image" Target="../media/image226.png"/><Relationship Id="rId157" Type="http://schemas.openxmlformats.org/officeDocument/2006/relationships/customXml" Target="../ink/ink236.xml"/><Relationship Id="rId178" Type="http://schemas.openxmlformats.org/officeDocument/2006/relationships/image" Target="../media/image247.png"/><Relationship Id="rId301" Type="http://schemas.openxmlformats.org/officeDocument/2006/relationships/customXml" Target="../ink/ink308.xml"/><Relationship Id="rId322" Type="http://schemas.openxmlformats.org/officeDocument/2006/relationships/image" Target="../media/image319.png"/><Relationship Id="rId61" Type="http://schemas.openxmlformats.org/officeDocument/2006/relationships/customXml" Target="../ink/ink188.xml"/><Relationship Id="rId82" Type="http://schemas.openxmlformats.org/officeDocument/2006/relationships/image" Target="../media/image199.png"/><Relationship Id="rId199" Type="http://schemas.openxmlformats.org/officeDocument/2006/relationships/customXml" Target="../ink/ink257.xml"/><Relationship Id="rId203" Type="http://schemas.openxmlformats.org/officeDocument/2006/relationships/customXml" Target="../ink/ink259.xml"/><Relationship Id="rId19" Type="http://schemas.openxmlformats.org/officeDocument/2006/relationships/customXml" Target="../ink/ink167.xml"/><Relationship Id="rId224" Type="http://schemas.openxmlformats.org/officeDocument/2006/relationships/image" Target="../media/image270.png"/><Relationship Id="rId245" Type="http://schemas.openxmlformats.org/officeDocument/2006/relationships/customXml" Target="../ink/ink280.xml"/><Relationship Id="rId266" Type="http://schemas.openxmlformats.org/officeDocument/2006/relationships/image" Target="../media/image291.png"/><Relationship Id="rId287" Type="http://schemas.openxmlformats.org/officeDocument/2006/relationships/customXml" Target="../ink/ink301.xml"/><Relationship Id="rId30" Type="http://schemas.openxmlformats.org/officeDocument/2006/relationships/image" Target="../media/image173.png"/><Relationship Id="rId105" Type="http://schemas.openxmlformats.org/officeDocument/2006/relationships/customXml" Target="../ink/ink210.xml"/><Relationship Id="rId126" Type="http://schemas.openxmlformats.org/officeDocument/2006/relationships/image" Target="../media/image221.png"/><Relationship Id="rId147" Type="http://schemas.openxmlformats.org/officeDocument/2006/relationships/customXml" Target="../ink/ink231.xml"/><Relationship Id="rId168" Type="http://schemas.openxmlformats.org/officeDocument/2006/relationships/image" Target="../media/image242.png"/><Relationship Id="rId312" Type="http://schemas.openxmlformats.org/officeDocument/2006/relationships/image" Target="../media/image314.png"/><Relationship Id="rId333" Type="http://schemas.openxmlformats.org/officeDocument/2006/relationships/customXml" Target="../ink/ink324.xml"/><Relationship Id="rId51" Type="http://schemas.openxmlformats.org/officeDocument/2006/relationships/customXml" Target="../ink/ink183.xml"/><Relationship Id="rId72" Type="http://schemas.openxmlformats.org/officeDocument/2006/relationships/image" Target="../media/image194.png"/><Relationship Id="rId93" Type="http://schemas.openxmlformats.org/officeDocument/2006/relationships/customXml" Target="../ink/ink204.xml"/><Relationship Id="rId189" Type="http://schemas.openxmlformats.org/officeDocument/2006/relationships/customXml" Target="../ink/ink252.xml"/><Relationship Id="rId3" Type="http://schemas.openxmlformats.org/officeDocument/2006/relationships/oleObject" Target="../embeddings/oleObject3.bin"/><Relationship Id="rId214" Type="http://schemas.openxmlformats.org/officeDocument/2006/relationships/image" Target="../media/image265.png"/><Relationship Id="rId235" Type="http://schemas.openxmlformats.org/officeDocument/2006/relationships/customXml" Target="../ink/ink275.xml"/><Relationship Id="rId256" Type="http://schemas.openxmlformats.org/officeDocument/2006/relationships/image" Target="../media/image286.png"/><Relationship Id="rId277" Type="http://schemas.openxmlformats.org/officeDocument/2006/relationships/customXml" Target="../ink/ink296.xml"/><Relationship Id="rId298" Type="http://schemas.openxmlformats.org/officeDocument/2006/relationships/image" Target="../media/image307.png"/><Relationship Id="rId116" Type="http://schemas.openxmlformats.org/officeDocument/2006/relationships/image" Target="../media/image216.png"/><Relationship Id="rId137" Type="http://schemas.openxmlformats.org/officeDocument/2006/relationships/customXml" Target="../ink/ink226.xml"/><Relationship Id="rId158" Type="http://schemas.openxmlformats.org/officeDocument/2006/relationships/image" Target="../media/image237.png"/><Relationship Id="rId302" Type="http://schemas.openxmlformats.org/officeDocument/2006/relationships/image" Target="../media/image309.png"/><Relationship Id="rId323" Type="http://schemas.openxmlformats.org/officeDocument/2006/relationships/customXml" Target="../ink/ink319.xml"/><Relationship Id="rId20" Type="http://schemas.openxmlformats.org/officeDocument/2006/relationships/image" Target="../media/image168.png"/><Relationship Id="rId41" Type="http://schemas.openxmlformats.org/officeDocument/2006/relationships/customXml" Target="../ink/ink178.xml"/><Relationship Id="rId62" Type="http://schemas.openxmlformats.org/officeDocument/2006/relationships/image" Target="../media/image189.png"/><Relationship Id="rId83" Type="http://schemas.openxmlformats.org/officeDocument/2006/relationships/customXml" Target="../ink/ink199.xml"/><Relationship Id="rId179" Type="http://schemas.openxmlformats.org/officeDocument/2006/relationships/customXml" Target="../ink/ink247.xml"/><Relationship Id="rId190" Type="http://schemas.openxmlformats.org/officeDocument/2006/relationships/image" Target="../media/image253.png"/><Relationship Id="rId204" Type="http://schemas.openxmlformats.org/officeDocument/2006/relationships/image" Target="../media/image260.png"/><Relationship Id="rId225" Type="http://schemas.openxmlformats.org/officeDocument/2006/relationships/customXml" Target="../ink/ink270.xml"/><Relationship Id="rId246" Type="http://schemas.openxmlformats.org/officeDocument/2006/relationships/image" Target="../media/image281.png"/><Relationship Id="rId267" Type="http://schemas.openxmlformats.org/officeDocument/2006/relationships/customXml" Target="../ink/ink291.xml"/><Relationship Id="rId288" Type="http://schemas.openxmlformats.org/officeDocument/2006/relationships/image" Target="../media/image302.png"/><Relationship Id="rId106" Type="http://schemas.openxmlformats.org/officeDocument/2006/relationships/image" Target="../media/image211.png"/><Relationship Id="rId127" Type="http://schemas.openxmlformats.org/officeDocument/2006/relationships/customXml" Target="../ink/ink221.xml"/><Relationship Id="rId313" Type="http://schemas.openxmlformats.org/officeDocument/2006/relationships/customXml" Target="../ink/ink314.xml"/><Relationship Id="rId10" Type="http://schemas.openxmlformats.org/officeDocument/2006/relationships/image" Target="../media/image163.png"/><Relationship Id="rId31" Type="http://schemas.openxmlformats.org/officeDocument/2006/relationships/customXml" Target="../ink/ink173.xml"/><Relationship Id="rId52" Type="http://schemas.openxmlformats.org/officeDocument/2006/relationships/image" Target="../media/image184.png"/><Relationship Id="rId73" Type="http://schemas.openxmlformats.org/officeDocument/2006/relationships/customXml" Target="../ink/ink194.xml"/><Relationship Id="rId94" Type="http://schemas.openxmlformats.org/officeDocument/2006/relationships/image" Target="../media/image205.png"/><Relationship Id="rId148" Type="http://schemas.openxmlformats.org/officeDocument/2006/relationships/image" Target="../media/image232.png"/><Relationship Id="rId169" Type="http://schemas.openxmlformats.org/officeDocument/2006/relationships/customXml" Target="../ink/ink242.xml"/><Relationship Id="rId334" Type="http://schemas.openxmlformats.org/officeDocument/2006/relationships/image" Target="../media/image325.png"/><Relationship Id="rId4" Type="http://schemas.openxmlformats.org/officeDocument/2006/relationships/image" Target="../media/image1.emf"/><Relationship Id="rId180" Type="http://schemas.openxmlformats.org/officeDocument/2006/relationships/image" Target="../media/image248.png"/><Relationship Id="rId215" Type="http://schemas.openxmlformats.org/officeDocument/2006/relationships/customXml" Target="../ink/ink265.xml"/><Relationship Id="rId236" Type="http://schemas.openxmlformats.org/officeDocument/2006/relationships/image" Target="../media/image276.png"/><Relationship Id="rId257" Type="http://schemas.openxmlformats.org/officeDocument/2006/relationships/customXml" Target="../ink/ink286.xml"/><Relationship Id="rId278" Type="http://schemas.openxmlformats.org/officeDocument/2006/relationships/image" Target="../media/image297.png"/><Relationship Id="rId303" Type="http://schemas.openxmlformats.org/officeDocument/2006/relationships/customXml" Target="../ink/ink309.xml"/><Relationship Id="rId42" Type="http://schemas.openxmlformats.org/officeDocument/2006/relationships/image" Target="../media/image179.png"/><Relationship Id="rId84" Type="http://schemas.openxmlformats.org/officeDocument/2006/relationships/image" Target="../media/image200.png"/><Relationship Id="rId138" Type="http://schemas.openxmlformats.org/officeDocument/2006/relationships/image" Target="../media/image227.png"/><Relationship Id="rId191" Type="http://schemas.openxmlformats.org/officeDocument/2006/relationships/customXml" Target="../ink/ink253.xml"/><Relationship Id="rId205" Type="http://schemas.openxmlformats.org/officeDocument/2006/relationships/customXml" Target="../ink/ink260.xml"/><Relationship Id="rId247" Type="http://schemas.openxmlformats.org/officeDocument/2006/relationships/customXml" Target="../ink/ink281.xml"/><Relationship Id="rId107" Type="http://schemas.openxmlformats.org/officeDocument/2006/relationships/customXml" Target="../ink/ink211.xml"/><Relationship Id="rId289" Type="http://schemas.openxmlformats.org/officeDocument/2006/relationships/customXml" Target="../ink/ink302.xml"/><Relationship Id="rId11" Type="http://schemas.openxmlformats.org/officeDocument/2006/relationships/customXml" Target="../ink/ink163.xml"/><Relationship Id="rId53" Type="http://schemas.openxmlformats.org/officeDocument/2006/relationships/customXml" Target="../ink/ink184.xml"/><Relationship Id="rId149" Type="http://schemas.openxmlformats.org/officeDocument/2006/relationships/customXml" Target="../ink/ink232.xml"/><Relationship Id="rId314" Type="http://schemas.openxmlformats.org/officeDocument/2006/relationships/image" Target="../media/image315.png"/><Relationship Id="rId95" Type="http://schemas.openxmlformats.org/officeDocument/2006/relationships/customXml" Target="../ink/ink205.xml"/><Relationship Id="rId160" Type="http://schemas.openxmlformats.org/officeDocument/2006/relationships/image" Target="../media/image238.png"/><Relationship Id="rId216" Type="http://schemas.openxmlformats.org/officeDocument/2006/relationships/image" Target="../media/image266.png"/><Relationship Id="rId258" Type="http://schemas.openxmlformats.org/officeDocument/2006/relationships/image" Target="../media/image287.png"/><Relationship Id="rId22" Type="http://schemas.openxmlformats.org/officeDocument/2006/relationships/image" Target="../media/image169.png"/><Relationship Id="rId64" Type="http://schemas.openxmlformats.org/officeDocument/2006/relationships/image" Target="../media/image190.png"/><Relationship Id="rId118" Type="http://schemas.openxmlformats.org/officeDocument/2006/relationships/image" Target="../media/image217.png"/><Relationship Id="rId325" Type="http://schemas.openxmlformats.org/officeDocument/2006/relationships/customXml" Target="../ink/ink320.xml"/><Relationship Id="rId171" Type="http://schemas.openxmlformats.org/officeDocument/2006/relationships/customXml" Target="../ink/ink243.xml"/><Relationship Id="rId227" Type="http://schemas.openxmlformats.org/officeDocument/2006/relationships/customXml" Target="../ink/ink271.xml"/><Relationship Id="rId269" Type="http://schemas.openxmlformats.org/officeDocument/2006/relationships/customXml" Target="../ink/ink292.xml"/><Relationship Id="rId33" Type="http://schemas.openxmlformats.org/officeDocument/2006/relationships/customXml" Target="../ink/ink174.xml"/><Relationship Id="rId129" Type="http://schemas.openxmlformats.org/officeDocument/2006/relationships/customXml" Target="../ink/ink222.xml"/><Relationship Id="rId280" Type="http://schemas.openxmlformats.org/officeDocument/2006/relationships/image" Target="../media/image298.png"/><Relationship Id="rId336" Type="http://schemas.openxmlformats.org/officeDocument/2006/relationships/image" Target="../media/image326.png"/><Relationship Id="rId75" Type="http://schemas.openxmlformats.org/officeDocument/2006/relationships/customXml" Target="../ink/ink195.xml"/><Relationship Id="rId140" Type="http://schemas.openxmlformats.org/officeDocument/2006/relationships/image" Target="../media/image228.png"/><Relationship Id="rId182" Type="http://schemas.openxmlformats.org/officeDocument/2006/relationships/image" Target="../media/image249.png"/><Relationship Id="rId6" Type="http://schemas.openxmlformats.org/officeDocument/2006/relationships/image" Target="../media/image161.png"/><Relationship Id="rId238" Type="http://schemas.openxmlformats.org/officeDocument/2006/relationships/image" Target="../media/image277.png"/><Relationship Id="rId291" Type="http://schemas.openxmlformats.org/officeDocument/2006/relationships/customXml" Target="../ink/ink303.xml"/><Relationship Id="rId305" Type="http://schemas.openxmlformats.org/officeDocument/2006/relationships/customXml" Target="../ink/ink310.xml"/><Relationship Id="rId44" Type="http://schemas.openxmlformats.org/officeDocument/2006/relationships/image" Target="../media/image180.png"/><Relationship Id="rId86" Type="http://schemas.openxmlformats.org/officeDocument/2006/relationships/image" Target="../media/image201.png"/><Relationship Id="rId151" Type="http://schemas.openxmlformats.org/officeDocument/2006/relationships/customXml" Target="../ink/ink233.xml"/><Relationship Id="rId193" Type="http://schemas.openxmlformats.org/officeDocument/2006/relationships/customXml" Target="../ink/ink254.xml"/><Relationship Id="rId207" Type="http://schemas.openxmlformats.org/officeDocument/2006/relationships/customXml" Target="../ink/ink261.xml"/><Relationship Id="rId249" Type="http://schemas.openxmlformats.org/officeDocument/2006/relationships/customXml" Target="../ink/ink282.xml"/><Relationship Id="rId13" Type="http://schemas.openxmlformats.org/officeDocument/2006/relationships/customXml" Target="../ink/ink164.xml"/><Relationship Id="rId109" Type="http://schemas.openxmlformats.org/officeDocument/2006/relationships/customXml" Target="../ink/ink212.xml"/><Relationship Id="rId260" Type="http://schemas.openxmlformats.org/officeDocument/2006/relationships/image" Target="../media/image288.png"/><Relationship Id="rId316" Type="http://schemas.openxmlformats.org/officeDocument/2006/relationships/image" Target="../media/image316.png"/><Relationship Id="rId55" Type="http://schemas.openxmlformats.org/officeDocument/2006/relationships/customXml" Target="../ink/ink185.xml"/><Relationship Id="rId97" Type="http://schemas.openxmlformats.org/officeDocument/2006/relationships/customXml" Target="../ink/ink206.xml"/><Relationship Id="rId120" Type="http://schemas.openxmlformats.org/officeDocument/2006/relationships/image" Target="../media/image218.png"/><Relationship Id="rId162" Type="http://schemas.openxmlformats.org/officeDocument/2006/relationships/image" Target="../media/image239.png"/><Relationship Id="rId218" Type="http://schemas.openxmlformats.org/officeDocument/2006/relationships/image" Target="../media/image267.png"/><Relationship Id="rId271" Type="http://schemas.openxmlformats.org/officeDocument/2006/relationships/customXml" Target="../ink/ink293.xml"/><Relationship Id="rId24" Type="http://schemas.openxmlformats.org/officeDocument/2006/relationships/image" Target="../media/image170.png"/><Relationship Id="rId66" Type="http://schemas.openxmlformats.org/officeDocument/2006/relationships/image" Target="../media/image191.png"/><Relationship Id="rId131" Type="http://schemas.openxmlformats.org/officeDocument/2006/relationships/customXml" Target="../ink/ink223.xml"/><Relationship Id="rId327" Type="http://schemas.openxmlformats.org/officeDocument/2006/relationships/customXml" Target="../ink/ink3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6E82816-9F43-C206-C408-2288B9532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427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215A932-FF02-9ACC-F728-84A1F30DB8E8}"/>
              </a:ext>
            </a:extLst>
          </p:cNvPr>
          <p:cNvGrpSpPr/>
          <p:nvPr/>
        </p:nvGrpSpPr>
        <p:grpSpPr>
          <a:xfrm>
            <a:off x="746485" y="345558"/>
            <a:ext cx="1099080" cy="474120"/>
            <a:chOff x="746485" y="345558"/>
            <a:chExt cx="1099080" cy="474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5" name="Freihand 4">
                  <a:extLst>
                    <a:ext uri="{FF2B5EF4-FFF2-40B4-BE49-F238E27FC236}">
                      <a16:creationId xmlns:a16="http://schemas.microsoft.com/office/drawing/2014/main" id="{19CFAEB4-A797-6EAB-C748-C0848A9413BF}"/>
                    </a:ext>
                  </a:extLst>
                </p14:cNvPr>
                <p14:cNvContentPartPr/>
                <p14:nvPr/>
              </p14:nvContentPartPr>
              <p14:xfrm>
                <a:off x="746485" y="363918"/>
                <a:ext cx="151200" cy="455760"/>
              </p14:xfrm>
            </p:contentPart>
          </mc:Choice>
          <mc:Fallback>
            <p:pic>
              <p:nvPicPr>
                <p:cNvPr id="5" name="Freihand 4">
                  <a:extLst>
                    <a:ext uri="{FF2B5EF4-FFF2-40B4-BE49-F238E27FC236}">
                      <a16:creationId xmlns:a16="http://schemas.microsoft.com/office/drawing/2014/main" id="{19CFAEB4-A797-6EAB-C748-C0848A9413BF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28485" y="345918"/>
                  <a:ext cx="186840" cy="491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6" name="Freihand 5">
                  <a:extLst>
                    <a:ext uri="{FF2B5EF4-FFF2-40B4-BE49-F238E27FC236}">
                      <a16:creationId xmlns:a16="http://schemas.microsoft.com/office/drawing/2014/main" id="{C25244AC-3E8D-9AFD-AD94-FF6C896B927C}"/>
                    </a:ext>
                  </a:extLst>
                </p14:cNvPr>
                <p14:cNvContentPartPr/>
                <p14:nvPr/>
              </p14:nvContentPartPr>
              <p14:xfrm>
                <a:off x="767005" y="624198"/>
                <a:ext cx="93960" cy="23760"/>
              </p14:xfrm>
            </p:contentPart>
          </mc:Choice>
          <mc:Fallback>
            <p:pic>
              <p:nvPicPr>
                <p:cNvPr id="6" name="Freihand 5">
                  <a:extLst>
                    <a:ext uri="{FF2B5EF4-FFF2-40B4-BE49-F238E27FC236}">
                      <a16:creationId xmlns:a16="http://schemas.microsoft.com/office/drawing/2014/main" id="{C25244AC-3E8D-9AFD-AD94-FF6C896B927C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49005" y="606558"/>
                  <a:ext cx="12960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7" name="Freihand 6">
                  <a:extLst>
                    <a:ext uri="{FF2B5EF4-FFF2-40B4-BE49-F238E27FC236}">
                      <a16:creationId xmlns:a16="http://schemas.microsoft.com/office/drawing/2014/main" id="{98249EA2-A0BF-77C6-32AF-70495B31319E}"/>
                    </a:ext>
                  </a:extLst>
                </p14:cNvPr>
                <p14:cNvContentPartPr/>
                <p14:nvPr/>
              </p14:nvContentPartPr>
              <p14:xfrm>
                <a:off x="920005" y="535638"/>
                <a:ext cx="167040" cy="261720"/>
              </p14:xfrm>
            </p:contentPart>
          </mc:Choice>
          <mc:Fallback>
            <p:pic>
              <p:nvPicPr>
                <p:cNvPr id="7" name="Freihand 6">
                  <a:extLst>
                    <a:ext uri="{FF2B5EF4-FFF2-40B4-BE49-F238E27FC236}">
                      <a16:creationId xmlns:a16="http://schemas.microsoft.com/office/drawing/2014/main" id="{98249EA2-A0BF-77C6-32AF-70495B31319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902365" y="517998"/>
                  <a:ext cx="202680" cy="29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8" name="Freihand 7">
                  <a:extLst>
                    <a:ext uri="{FF2B5EF4-FFF2-40B4-BE49-F238E27FC236}">
                      <a16:creationId xmlns:a16="http://schemas.microsoft.com/office/drawing/2014/main" id="{CFB1CDA9-EB40-6A5F-853F-EA2748674208}"/>
                    </a:ext>
                  </a:extLst>
                </p14:cNvPr>
                <p14:cNvContentPartPr/>
                <p14:nvPr/>
              </p14:nvContentPartPr>
              <p14:xfrm>
                <a:off x="1127365" y="571278"/>
                <a:ext cx="336240" cy="228240"/>
              </p14:xfrm>
            </p:contentPart>
          </mc:Choice>
          <mc:Fallback>
            <p:pic>
              <p:nvPicPr>
                <p:cNvPr id="8" name="Freihand 7">
                  <a:extLst>
                    <a:ext uri="{FF2B5EF4-FFF2-40B4-BE49-F238E27FC236}">
                      <a16:creationId xmlns:a16="http://schemas.microsoft.com/office/drawing/2014/main" id="{CFB1CDA9-EB40-6A5F-853F-EA2748674208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109725" y="553278"/>
                  <a:ext cx="371880" cy="263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75E77F9C-183A-D7CE-E9B9-F6B017BDA051}"/>
                    </a:ext>
                  </a:extLst>
                </p14:cNvPr>
                <p14:cNvContentPartPr/>
                <p14:nvPr/>
              </p14:nvContentPartPr>
              <p14:xfrm>
                <a:off x="1505365" y="550758"/>
                <a:ext cx="123840" cy="206280"/>
              </p14:xfrm>
            </p:contentPart>
          </mc:Choice>
          <mc:Fallback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75E77F9C-183A-D7CE-E9B9-F6B017BDA051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487365" y="532758"/>
                  <a:ext cx="159480" cy="24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0" name="Freihand 9">
                  <a:extLst>
                    <a:ext uri="{FF2B5EF4-FFF2-40B4-BE49-F238E27FC236}">
                      <a16:creationId xmlns:a16="http://schemas.microsoft.com/office/drawing/2014/main" id="{7DD91622-6676-DBF6-76F5-12AFE94A0C63}"/>
                    </a:ext>
                  </a:extLst>
                </p14:cNvPr>
                <p14:cNvContentPartPr/>
                <p14:nvPr/>
              </p14:nvContentPartPr>
              <p14:xfrm>
                <a:off x="1679245" y="345558"/>
                <a:ext cx="51840" cy="276120"/>
              </p14:xfrm>
            </p:contentPart>
          </mc:Choice>
          <mc:Fallback>
            <p:pic>
              <p:nvPicPr>
                <p:cNvPr id="10" name="Freihand 9">
                  <a:extLst>
                    <a:ext uri="{FF2B5EF4-FFF2-40B4-BE49-F238E27FC236}">
                      <a16:creationId xmlns:a16="http://schemas.microsoft.com/office/drawing/2014/main" id="{7DD91622-6676-DBF6-76F5-12AFE94A0C63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661245" y="327918"/>
                  <a:ext cx="87480" cy="311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1" name="Freihand 10">
                  <a:extLst>
                    <a:ext uri="{FF2B5EF4-FFF2-40B4-BE49-F238E27FC236}">
                      <a16:creationId xmlns:a16="http://schemas.microsoft.com/office/drawing/2014/main" id="{331A0753-8A59-1372-2ABB-385A5DA9B6E1}"/>
                    </a:ext>
                  </a:extLst>
                </p14:cNvPr>
                <p14:cNvContentPartPr/>
                <p14:nvPr/>
              </p14:nvContentPartPr>
              <p14:xfrm>
                <a:off x="1688965" y="530238"/>
                <a:ext cx="156600" cy="42480"/>
              </p14:xfrm>
            </p:contentPart>
          </mc:Choice>
          <mc:Fallback>
            <p:pic>
              <p:nvPicPr>
                <p:cNvPr id="11" name="Freihand 10">
                  <a:extLst>
                    <a:ext uri="{FF2B5EF4-FFF2-40B4-BE49-F238E27FC236}">
                      <a16:creationId xmlns:a16="http://schemas.microsoft.com/office/drawing/2014/main" id="{331A0753-8A59-1372-2ABB-385A5DA9B6E1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670965" y="512598"/>
                  <a:ext cx="192240" cy="781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E47D2670-B591-302C-A8A5-007449865B1E}"/>
              </a:ext>
            </a:extLst>
          </p:cNvPr>
          <p:cNvGrpSpPr/>
          <p:nvPr/>
        </p:nvGrpSpPr>
        <p:grpSpPr>
          <a:xfrm>
            <a:off x="2159125" y="306678"/>
            <a:ext cx="1388880" cy="447480"/>
            <a:chOff x="2159125" y="306678"/>
            <a:chExt cx="1388880" cy="447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13" name="Freihand 12">
                  <a:extLst>
                    <a:ext uri="{FF2B5EF4-FFF2-40B4-BE49-F238E27FC236}">
                      <a16:creationId xmlns:a16="http://schemas.microsoft.com/office/drawing/2014/main" id="{B05B4EAD-E635-DB77-678A-AD73950AB047}"/>
                    </a:ext>
                  </a:extLst>
                </p14:cNvPr>
                <p14:cNvContentPartPr/>
                <p14:nvPr/>
              </p14:nvContentPartPr>
              <p14:xfrm>
                <a:off x="2159125" y="399558"/>
                <a:ext cx="248760" cy="298800"/>
              </p14:xfrm>
            </p:contentPart>
          </mc:Choice>
          <mc:Fallback>
            <p:pic>
              <p:nvPicPr>
                <p:cNvPr id="13" name="Freihand 12">
                  <a:extLst>
                    <a:ext uri="{FF2B5EF4-FFF2-40B4-BE49-F238E27FC236}">
                      <a16:creationId xmlns:a16="http://schemas.microsoft.com/office/drawing/2014/main" id="{B05B4EAD-E635-DB77-678A-AD73950AB047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2141485" y="381918"/>
                  <a:ext cx="284400" cy="33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4" name="Freihand 13">
                  <a:extLst>
                    <a:ext uri="{FF2B5EF4-FFF2-40B4-BE49-F238E27FC236}">
                      <a16:creationId xmlns:a16="http://schemas.microsoft.com/office/drawing/2014/main" id="{64E9BAA2-D289-462B-1650-835BC26CC724}"/>
                    </a:ext>
                  </a:extLst>
                </p14:cNvPr>
                <p14:cNvContentPartPr/>
                <p14:nvPr/>
              </p14:nvContentPartPr>
              <p14:xfrm>
                <a:off x="2234365" y="391638"/>
                <a:ext cx="235800" cy="240840"/>
              </p14:xfrm>
            </p:contentPart>
          </mc:Choice>
          <mc:Fallback>
            <p:pic>
              <p:nvPicPr>
                <p:cNvPr id="14" name="Freihand 13">
                  <a:extLst>
                    <a:ext uri="{FF2B5EF4-FFF2-40B4-BE49-F238E27FC236}">
                      <a16:creationId xmlns:a16="http://schemas.microsoft.com/office/drawing/2014/main" id="{64E9BAA2-D289-462B-1650-835BC26CC724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2216725" y="373638"/>
                  <a:ext cx="271440" cy="27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D715EB28-9033-9857-C059-C7207DC856E8}"/>
                    </a:ext>
                  </a:extLst>
                </p14:cNvPr>
                <p14:cNvContentPartPr/>
                <p14:nvPr/>
              </p14:nvContentPartPr>
              <p14:xfrm>
                <a:off x="2540005" y="524478"/>
                <a:ext cx="39960" cy="10440"/>
              </p14:xfrm>
            </p:contentPart>
          </mc:Choice>
          <mc:Fallback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D715EB28-9033-9857-C059-C7207DC856E8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522005" y="506838"/>
                  <a:ext cx="7560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F50F2D77-B669-BF0C-A41E-818B5CD7EB73}"/>
                    </a:ext>
                  </a:extLst>
                </p14:cNvPr>
                <p14:cNvContentPartPr/>
                <p14:nvPr/>
              </p14:nvContentPartPr>
              <p14:xfrm>
                <a:off x="2521645" y="552198"/>
                <a:ext cx="90000" cy="201960"/>
              </p14:xfrm>
            </p:contentPart>
          </mc:Choice>
          <mc:Fallback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F50F2D77-B669-BF0C-A41E-818B5CD7EB73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2504005" y="534198"/>
                  <a:ext cx="125640" cy="23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7" name="Freihand 16">
                  <a:extLst>
                    <a:ext uri="{FF2B5EF4-FFF2-40B4-BE49-F238E27FC236}">
                      <a16:creationId xmlns:a16="http://schemas.microsoft.com/office/drawing/2014/main" id="{8C991C62-2231-60D6-FA76-F1EA8C9F8821}"/>
                    </a:ext>
                  </a:extLst>
                </p14:cNvPr>
                <p14:cNvContentPartPr/>
                <p14:nvPr/>
              </p14:nvContentPartPr>
              <p14:xfrm>
                <a:off x="2745925" y="306678"/>
                <a:ext cx="258120" cy="392400"/>
              </p14:xfrm>
            </p:contentPart>
          </mc:Choice>
          <mc:Fallback>
            <p:pic>
              <p:nvPicPr>
                <p:cNvPr id="17" name="Freihand 16">
                  <a:extLst>
                    <a:ext uri="{FF2B5EF4-FFF2-40B4-BE49-F238E27FC236}">
                      <a16:creationId xmlns:a16="http://schemas.microsoft.com/office/drawing/2014/main" id="{8C991C62-2231-60D6-FA76-F1EA8C9F8821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727925" y="288678"/>
                  <a:ext cx="293760" cy="428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18" name="Freihand 17">
                  <a:extLst>
                    <a:ext uri="{FF2B5EF4-FFF2-40B4-BE49-F238E27FC236}">
                      <a16:creationId xmlns:a16="http://schemas.microsoft.com/office/drawing/2014/main" id="{0F5EA348-8C7B-5A27-571D-8C7E1017F342}"/>
                    </a:ext>
                  </a:extLst>
                </p14:cNvPr>
                <p14:cNvContentPartPr/>
                <p14:nvPr/>
              </p14:nvContentPartPr>
              <p14:xfrm>
                <a:off x="2997925" y="492438"/>
                <a:ext cx="127440" cy="191520"/>
              </p14:xfrm>
            </p:contentPart>
          </mc:Choice>
          <mc:Fallback>
            <p:pic>
              <p:nvPicPr>
                <p:cNvPr id="18" name="Freihand 17">
                  <a:extLst>
                    <a:ext uri="{FF2B5EF4-FFF2-40B4-BE49-F238E27FC236}">
                      <a16:creationId xmlns:a16="http://schemas.microsoft.com/office/drawing/2014/main" id="{0F5EA348-8C7B-5A27-571D-8C7E1017F342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979925" y="474798"/>
                  <a:ext cx="163080" cy="22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9" name="Freihand 18">
                  <a:extLst>
                    <a:ext uri="{FF2B5EF4-FFF2-40B4-BE49-F238E27FC236}">
                      <a16:creationId xmlns:a16="http://schemas.microsoft.com/office/drawing/2014/main" id="{F12567B6-5853-13C7-1610-5BE317E39039}"/>
                    </a:ext>
                  </a:extLst>
                </p14:cNvPr>
                <p14:cNvContentPartPr/>
                <p14:nvPr/>
              </p14:nvContentPartPr>
              <p14:xfrm>
                <a:off x="3150565" y="496758"/>
                <a:ext cx="142560" cy="160560"/>
              </p14:xfrm>
            </p:contentPart>
          </mc:Choice>
          <mc:Fallback>
            <p:pic>
              <p:nvPicPr>
                <p:cNvPr id="19" name="Freihand 18">
                  <a:extLst>
                    <a:ext uri="{FF2B5EF4-FFF2-40B4-BE49-F238E27FC236}">
                      <a16:creationId xmlns:a16="http://schemas.microsoft.com/office/drawing/2014/main" id="{F12567B6-5853-13C7-1610-5BE317E39039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3132565" y="478758"/>
                  <a:ext cx="178200" cy="1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20" name="Freihand 19">
                  <a:extLst>
                    <a:ext uri="{FF2B5EF4-FFF2-40B4-BE49-F238E27FC236}">
                      <a16:creationId xmlns:a16="http://schemas.microsoft.com/office/drawing/2014/main" id="{20E5C79F-8D16-702B-2483-F91E1BE76F67}"/>
                    </a:ext>
                  </a:extLst>
                </p14:cNvPr>
                <p14:cNvContentPartPr/>
                <p14:nvPr/>
              </p14:nvContentPartPr>
              <p14:xfrm>
                <a:off x="3423085" y="456078"/>
                <a:ext cx="124920" cy="189000"/>
              </p14:xfrm>
            </p:contentPart>
          </mc:Choice>
          <mc:Fallback>
            <p:pic>
              <p:nvPicPr>
                <p:cNvPr id="20" name="Freihand 19">
                  <a:extLst>
                    <a:ext uri="{FF2B5EF4-FFF2-40B4-BE49-F238E27FC236}">
                      <a16:creationId xmlns:a16="http://schemas.microsoft.com/office/drawing/2014/main" id="{20E5C79F-8D16-702B-2483-F91E1BE76F67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3405445" y="438438"/>
                  <a:ext cx="160560" cy="2246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5">
            <p14:nvContentPartPr>
              <p14:cNvPr id="21" name="Freihand 20">
                <a:extLst>
                  <a:ext uri="{FF2B5EF4-FFF2-40B4-BE49-F238E27FC236}">
                    <a16:creationId xmlns:a16="http://schemas.microsoft.com/office/drawing/2014/main" id="{17FBFC4B-97AE-8152-CEA3-4A1D574953E5}"/>
                  </a:ext>
                </a:extLst>
              </p14:cNvPr>
              <p14:cNvContentPartPr/>
              <p14:nvPr/>
            </p14:nvContentPartPr>
            <p14:xfrm>
              <a:off x="3818725" y="334758"/>
              <a:ext cx="207720" cy="484200"/>
            </p14:xfrm>
          </p:contentPart>
        </mc:Choice>
        <mc:Fallback>
          <p:pic>
            <p:nvPicPr>
              <p:cNvPr id="21" name="Freihand 20">
                <a:extLst>
                  <a:ext uri="{FF2B5EF4-FFF2-40B4-BE49-F238E27FC236}">
                    <a16:creationId xmlns:a16="http://schemas.microsoft.com/office/drawing/2014/main" id="{17FBFC4B-97AE-8152-CEA3-4A1D574953E5}"/>
                  </a:ext>
                </a:extLst>
              </p:cNvPr>
              <p:cNvPicPr/>
              <p:nvPr/>
            </p:nvPicPr>
            <p:blipFill>
              <a:blip r:embed="rId36"/>
              <a:stretch>
                <a:fillRect/>
              </a:stretch>
            </p:blipFill>
            <p:spPr>
              <a:xfrm>
                <a:off x="3800725" y="316758"/>
                <a:ext cx="243360" cy="519840"/>
              </a:xfrm>
              <a:prstGeom prst="rect">
                <a:avLst/>
              </a:prstGeom>
            </p:spPr>
          </p:pic>
        </mc:Fallback>
      </mc:AlternateContent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EA4AB2E6-1D62-5EC5-5E18-3E19CEB4D996}"/>
              </a:ext>
            </a:extLst>
          </p:cNvPr>
          <p:cNvGrpSpPr/>
          <p:nvPr/>
        </p:nvGrpSpPr>
        <p:grpSpPr>
          <a:xfrm>
            <a:off x="4281685" y="180678"/>
            <a:ext cx="1220760" cy="538920"/>
            <a:chOff x="4281685" y="180678"/>
            <a:chExt cx="1220760" cy="538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2" name="Freihand 21">
                  <a:extLst>
                    <a:ext uri="{FF2B5EF4-FFF2-40B4-BE49-F238E27FC236}">
                      <a16:creationId xmlns:a16="http://schemas.microsoft.com/office/drawing/2014/main" id="{77FC6CA3-300B-F2D2-0F4C-5ED2949548AC}"/>
                    </a:ext>
                  </a:extLst>
                </p14:cNvPr>
                <p14:cNvContentPartPr/>
                <p14:nvPr/>
              </p14:nvContentPartPr>
              <p14:xfrm>
                <a:off x="4281685" y="465078"/>
                <a:ext cx="147240" cy="46440"/>
              </p14:xfrm>
            </p:contentPart>
          </mc:Choice>
          <mc:Fallback>
            <p:pic>
              <p:nvPicPr>
                <p:cNvPr id="22" name="Freihand 21">
                  <a:extLst>
                    <a:ext uri="{FF2B5EF4-FFF2-40B4-BE49-F238E27FC236}">
                      <a16:creationId xmlns:a16="http://schemas.microsoft.com/office/drawing/2014/main" id="{77FC6CA3-300B-F2D2-0F4C-5ED2949548AC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4263685" y="447438"/>
                  <a:ext cx="182880" cy="8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23" name="Freihand 22">
                  <a:extLst>
                    <a:ext uri="{FF2B5EF4-FFF2-40B4-BE49-F238E27FC236}">
                      <a16:creationId xmlns:a16="http://schemas.microsoft.com/office/drawing/2014/main" id="{929C30EC-7367-4AFF-37A1-EBBC86AFE809}"/>
                    </a:ext>
                  </a:extLst>
                </p14:cNvPr>
                <p14:cNvContentPartPr/>
                <p14:nvPr/>
              </p14:nvContentPartPr>
              <p14:xfrm>
                <a:off x="4509925" y="259878"/>
                <a:ext cx="255960" cy="394920"/>
              </p14:xfrm>
            </p:contentPart>
          </mc:Choice>
          <mc:Fallback>
            <p:pic>
              <p:nvPicPr>
                <p:cNvPr id="23" name="Freihand 22">
                  <a:extLst>
                    <a:ext uri="{FF2B5EF4-FFF2-40B4-BE49-F238E27FC236}">
                      <a16:creationId xmlns:a16="http://schemas.microsoft.com/office/drawing/2014/main" id="{929C30EC-7367-4AFF-37A1-EBBC86AFE809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4491925" y="242238"/>
                  <a:ext cx="291600" cy="43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24" name="Freihand 23">
                  <a:extLst>
                    <a:ext uri="{FF2B5EF4-FFF2-40B4-BE49-F238E27FC236}">
                      <a16:creationId xmlns:a16="http://schemas.microsoft.com/office/drawing/2014/main" id="{7B73959D-3422-CDF2-8E97-DD167454590D}"/>
                    </a:ext>
                  </a:extLst>
                </p14:cNvPr>
                <p14:cNvContentPartPr/>
                <p14:nvPr/>
              </p14:nvContentPartPr>
              <p14:xfrm>
                <a:off x="4735285" y="284718"/>
                <a:ext cx="25920" cy="92880"/>
              </p14:xfrm>
            </p:contentPart>
          </mc:Choice>
          <mc:Fallback>
            <p:pic>
              <p:nvPicPr>
                <p:cNvPr id="24" name="Freihand 23">
                  <a:extLst>
                    <a:ext uri="{FF2B5EF4-FFF2-40B4-BE49-F238E27FC236}">
                      <a16:creationId xmlns:a16="http://schemas.microsoft.com/office/drawing/2014/main" id="{7B73959D-3422-CDF2-8E97-DD167454590D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4717645" y="266718"/>
                  <a:ext cx="61560" cy="128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25" name="Freihand 24">
                  <a:extLst>
                    <a:ext uri="{FF2B5EF4-FFF2-40B4-BE49-F238E27FC236}">
                      <a16:creationId xmlns:a16="http://schemas.microsoft.com/office/drawing/2014/main" id="{F77319FB-1EBD-D958-2123-8CE4C520E7B5}"/>
                    </a:ext>
                  </a:extLst>
                </p14:cNvPr>
                <p14:cNvContentPartPr/>
                <p14:nvPr/>
              </p14:nvContentPartPr>
              <p14:xfrm>
                <a:off x="4836805" y="180678"/>
                <a:ext cx="308880" cy="431280"/>
              </p14:xfrm>
            </p:contentPart>
          </mc:Choice>
          <mc:Fallback>
            <p:pic>
              <p:nvPicPr>
                <p:cNvPr id="25" name="Freihand 24">
                  <a:extLst>
                    <a:ext uri="{FF2B5EF4-FFF2-40B4-BE49-F238E27FC236}">
                      <a16:creationId xmlns:a16="http://schemas.microsoft.com/office/drawing/2014/main" id="{F77319FB-1EBD-D958-2123-8CE4C520E7B5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4819165" y="162678"/>
                  <a:ext cx="344520" cy="46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26" name="Freihand 25">
                  <a:extLst>
                    <a:ext uri="{FF2B5EF4-FFF2-40B4-BE49-F238E27FC236}">
                      <a16:creationId xmlns:a16="http://schemas.microsoft.com/office/drawing/2014/main" id="{1CE41459-D021-6A98-36E5-F5C16227ED6F}"/>
                    </a:ext>
                  </a:extLst>
                </p14:cNvPr>
                <p14:cNvContentPartPr/>
                <p14:nvPr/>
              </p14:nvContentPartPr>
              <p14:xfrm>
                <a:off x="5137405" y="202638"/>
                <a:ext cx="365040" cy="516960"/>
              </p14:xfrm>
            </p:contentPart>
          </mc:Choice>
          <mc:Fallback>
            <p:pic>
              <p:nvPicPr>
                <p:cNvPr id="26" name="Freihand 25">
                  <a:extLst>
                    <a:ext uri="{FF2B5EF4-FFF2-40B4-BE49-F238E27FC236}">
                      <a16:creationId xmlns:a16="http://schemas.microsoft.com/office/drawing/2014/main" id="{1CE41459-D021-6A98-36E5-F5C16227ED6F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5119765" y="184638"/>
                  <a:ext cx="400680" cy="552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DE81FB5-3431-8DEF-5C97-185376A63554}"/>
              </a:ext>
            </a:extLst>
          </p:cNvPr>
          <p:cNvGrpSpPr/>
          <p:nvPr/>
        </p:nvGrpSpPr>
        <p:grpSpPr>
          <a:xfrm>
            <a:off x="5920405" y="142158"/>
            <a:ext cx="1469520" cy="529920"/>
            <a:chOff x="5920405" y="142158"/>
            <a:chExt cx="1469520" cy="529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27" name="Freihand 26">
                  <a:extLst>
                    <a:ext uri="{FF2B5EF4-FFF2-40B4-BE49-F238E27FC236}">
                      <a16:creationId xmlns:a16="http://schemas.microsoft.com/office/drawing/2014/main" id="{F1231A9A-2E97-F7A9-9415-06F8D8D2A073}"/>
                    </a:ext>
                  </a:extLst>
                </p14:cNvPr>
                <p14:cNvContentPartPr/>
                <p14:nvPr/>
              </p14:nvContentPartPr>
              <p14:xfrm>
                <a:off x="5920405" y="210558"/>
                <a:ext cx="37440" cy="335160"/>
              </p14:xfrm>
            </p:contentPart>
          </mc:Choice>
          <mc:Fallback>
            <p:pic>
              <p:nvPicPr>
                <p:cNvPr id="27" name="Freihand 26">
                  <a:extLst>
                    <a:ext uri="{FF2B5EF4-FFF2-40B4-BE49-F238E27FC236}">
                      <a16:creationId xmlns:a16="http://schemas.microsoft.com/office/drawing/2014/main" id="{F1231A9A-2E97-F7A9-9415-06F8D8D2A073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5902765" y="192918"/>
                  <a:ext cx="73080" cy="37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28" name="Freihand 27">
                  <a:extLst>
                    <a:ext uri="{FF2B5EF4-FFF2-40B4-BE49-F238E27FC236}">
                      <a16:creationId xmlns:a16="http://schemas.microsoft.com/office/drawing/2014/main" id="{5EBC59BE-71AA-58AB-BC18-97A9AC89FDED}"/>
                    </a:ext>
                  </a:extLst>
                </p14:cNvPr>
                <p14:cNvContentPartPr/>
                <p14:nvPr/>
              </p14:nvContentPartPr>
              <p14:xfrm>
                <a:off x="5999605" y="379038"/>
                <a:ext cx="185760" cy="193320"/>
              </p14:xfrm>
            </p:contentPart>
          </mc:Choice>
          <mc:Fallback>
            <p:pic>
              <p:nvPicPr>
                <p:cNvPr id="28" name="Freihand 27">
                  <a:extLst>
                    <a:ext uri="{FF2B5EF4-FFF2-40B4-BE49-F238E27FC236}">
                      <a16:creationId xmlns:a16="http://schemas.microsoft.com/office/drawing/2014/main" id="{5EBC59BE-71AA-58AB-BC18-97A9AC89FDED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5981605" y="361398"/>
                  <a:ext cx="221400" cy="22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29" name="Freihand 28">
                  <a:extLst>
                    <a:ext uri="{FF2B5EF4-FFF2-40B4-BE49-F238E27FC236}">
                      <a16:creationId xmlns:a16="http://schemas.microsoft.com/office/drawing/2014/main" id="{0426630B-6C2F-4487-A1A3-267F9388901D}"/>
                    </a:ext>
                  </a:extLst>
                </p14:cNvPr>
                <p14:cNvContentPartPr/>
                <p14:nvPr/>
              </p14:nvContentPartPr>
              <p14:xfrm>
                <a:off x="6214165" y="166638"/>
                <a:ext cx="319680" cy="386280"/>
              </p14:xfrm>
            </p:contentPart>
          </mc:Choice>
          <mc:Fallback>
            <p:pic>
              <p:nvPicPr>
                <p:cNvPr id="29" name="Freihand 28">
                  <a:extLst>
                    <a:ext uri="{FF2B5EF4-FFF2-40B4-BE49-F238E27FC236}">
                      <a16:creationId xmlns:a16="http://schemas.microsoft.com/office/drawing/2014/main" id="{0426630B-6C2F-4487-A1A3-267F9388901D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6196525" y="148638"/>
                  <a:ext cx="355320" cy="42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3">
              <p14:nvContentPartPr>
                <p14:cNvPr id="30" name="Freihand 29">
                  <a:extLst>
                    <a:ext uri="{FF2B5EF4-FFF2-40B4-BE49-F238E27FC236}">
                      <a16:creationId xmlns:a16="http://schemas.microsoft.com/office/drawing/2014/main" id="{48C0355A-26B0-30FB-F73F-BEF20413EDA8}"/>
                    </a:ext>
                  </a:extLst>
                </p14:cNvPr>
                <p14:cNvContentPartPr/>
                <p14:nvPr/>
              </p14:nvContentPartPr>
              <p14:xfrm>
                <a:off x="6549685" y="236478"/>
                <a:ext cx="111600" cy="435600"/>
              </p14:xfrm>
            </p:contentPart>
          </mc:Choice>
          <mc:Fallback>
            <p:pic>
              <p:nvPicPr>
                <p:cNvPr id="30" name="Freihand 29">
                  <a:extLst>
                    <a:ext uri="{FF2B5EF4-FFF2-40B4-BE49-F238E27FC236}">
                      <a16:creationId xmlns:a16="http://schemas.microsoft.com/office/drawing/2014/main" id="{48C0355A-26B0-30FB-F73F-BEF20413EDA8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6531685" y="218478"/>
                  <a:ext cx="147240" cy="47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5">
              <p14:nvContentPartPr>
                <p14:cNvPr id="31" name="Freihand 30">
                  <a:extLst>
                    <a:ext uri="{FF2B5EF4-FFF2-40B4-BE49-F238E27FC236}">
                      <a16:creationId xmlns:a16="http://schemas.microsoft.com/office/drawing/2014/main" id="{5FFF1342-1737-43D1-B204-4D152157A9C7}"/>
                    </a:ext>
                  </a:extLst>
                </p14:cNvPr>
                <p14:cNvContentPartPr/>
                <p14:nvPr/>
              </p14:nvContentPartPr>
              <p14:xfrm>
                <a:off x="6726445" y="315678"/>
                <a:ext cx="90720" cy="131400"/>
              </p14:xfrm>
            </p:contentPart>
          </mc:Choice>
          <mc:Fallback>
            <p:pic>
              <p:nvPicPr>
                <p:cNvPr id="31" name="Freihand 30">
                  <a:extLst>
                    <a:ext uri="{FF2B5EF4-FFF2-40B4-BE49-F238E27FC236}">
                      <a16:creationId xmlns:a16="http://schemas.microsoft.com/office/drawing/2014/main" id="{5FFF1342-1737-43D1-B204-4D152157A9C7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6708445" y="297678"/>
                  <a:ext cx="126360" cy="16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7">
              <p14:nvContentPartPr>
                <p14:cNvPr id="32" name="Freihand 31">
                  <a:extLst>
                    <a:ext uri="{FF2B5EF4-FFF2-40B4-BE49-F238E27FC236}">
                      <a16:creationId xmlns:a16="http://schemas.microsoft.com/office/drawing/2014/main" id="{61B307F5-D0A9-AF41-EF50-8D51DD2E7336}"/>
                    </a:ext>
                  </a:extLst>
                </p14:cNvPr>
                <p14:cNvContentPartPr/>
                <p14:nvPr/>
              </p14:nvContentPartPr>
              <p14:xfrm>
                <a:off x="6827965" y="155478"/>
                <a:ext cx="36720" cy="341280"/>
              </p14:xfrm>
            </p:contentPart>
          </mc:Choice>
          <mc:Fallback>
            <p:pic>
              <p:nvPicPr>
                <p:cNvPr id="32" name="Freihand 31">
                  <a:extLst>
                    <a:ext uri="{FF2B5EF4-FFF2-40B4-BE49-F238E27FC236}">
                      <a16:creationId xmlns:a16="http://schemas.microsoft.com/office/drawing/2014/main" id="{61B307F5-D0A9-AF41-EF50-8D51DD2E7336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6810325" y="137838"/>
                  <a:ext cx="72360" cy="376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9">
              <p14:nvContentPartPr>
                <p14:cNvPr id="33" name="Freihand 32">
                  <a:extLst>
                    <a:ext uri="{FF2B5EF4-FFF2-40B4-BE49-F238E27FC236}">
                      <a16:creationId xmlns:a16="http://schemas.microsoft.com/office/drawing/2014/main" id="{5C4D987F-CED9-60DA-4290-ADDE05203F8F}"/>
                    </a:ext>
                  </a:extLst>
                </p14:cNvPr>
                <p14:cNvContentPartPr/>
                <p14:nvPr/>
              </p14:nvContentPartPr>
              <p14:xfrm>
                <a:off x="6833725" y="314598"/>
                <a:ext cx="162360" cy="171360"/>
              </p14:xfrm>
            </p:contentPart>
          </mc:Choice>
          <mc:Fallback>
            <p:pic>
              <p:nvPicPr>
                <p:cNvPr id="33" name="Freihand 32">
                  <a:extLst>
                    <a:ext uri="{FF2B5EF4-FFF2-40B4-BE49-F238E27FC236}">
                      <a16:creationId xmlns:a16="http://schemas.microsoft.com/office/drawing/2014/main" id="{5C4D987F-CED9-60DA-4290-ADDE05203F8F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6815725" y="296958"/>
                  <a:ext cx="198000" cy="207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1">
              <p14:nvContentPartPr>
                <p14:cNvPr id="34" name="Freihand 33">
                  <a:extLst>
                    <a:ext uri="{FF2B5EF4-FFF2-40B4-BE49-F238E27FC236}">
                      <a16:creationId xmlns:a16="http://schemas.microsoft.com/office/drawing/2014/main" id="{248D653C-57B8-B86F-00CB-3042AE4E922A}"/>
                    </a:ext>
                  </a:extLst>
                </p14:cNvPr>
                <p14:cNvContentPartPr/>
                <p14:nvPr/>
              </p14:nvContentPartPr>
              <p14:xfrm>
                <a:off x="6978805" y="142158"/>
                <a:ext cx="184320" cy="321120"/>
              </p14:xfrm>
            </p:contentPart>
          </mc:Choice>
          <mc:Fallback>
            <p:pic>
              <p:nvPicPr>
                <p:cNvPr id="34" name="Freihand 33">
                  <a:extLst>
                    <a:ext uri="{FF2B5EF4-FFF2-40B4-BE49-F238E27FC236}">
                      <a16:creationId xmlns:a16="http://schemas.microsoft.com/office/drawing/2014/main" id="{248D653C-57B8-B86F-00CB-3042AE4E922A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6960805" y="124158"/>
                  <a:ext cx="219960" cy="356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3">
              <p14:nvContentPartPr>
                <p14:cNvPr id="35" name="Freihand 34">
                  <a:extLst>
                    <a:ext uri="{FF2B5EF4-FFF2-40B4-BE49-F238E27FC236}">
                      <a16:creationId xmlns:a16="http://schemas.microsoft.com/office/drawing/2014/main" id="{D4620464-1EF8-3035-5239-D32C8B7ACDD0}"/>
                    </a:ext>
                  </a:extLst>
                </p14:cNvPr>
                <p14:cNvContentPartPr/>
                <p14:nvPr/>
              </p14:nvContentPartPr>
              <p14:xfrm>
                <a:off x="7094365" y="161238"/>
                <a:ext cx="295560" cy="374400"/>
              </p14:xfrm>
            </p:contentPart>
          </mc:Choice>
          <mc:Fallback>
            <p:pic>
              <p:nvPicPr>
                <p:cNvPr id="35" name="Freihand 34">
                  <a:extLst>
                    <a:ext uri="{FF2B5EF4-FFF2-40B4-BE49-F238E27FC236}">
                      <a16:creationId xmlns:a16="http://schemas.microsoft.com/office/drawing/2014/main" id="{D4620464-1EF8-3035-5239-D32C8B7ACDD0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7076365" y="143238"/>
                  <a:ext cx="331200" cy="4100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4125782-EA79-84A1-36ED-1BD2CCF9215B}"/>
              </a:ext>
            </a:extLst>
          </p:cNvPr>
          <p:cNvGrpSpPr/>
          <p:nvPr/>
        </p:nvGrpSpPr>
        <p:grpSpPr>
          <a:xfrm>
            <a:off x="1017908" y="1478035"/>
            <a:ext cx="1782000" cy="1048320"/>
            <a:chOff x="1017908" y="1478035"/>
            <a:chExt cx="1782000" cy="1048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5">
              <p14:nvContentPartPr>
                <p14:cNvPr id="39" name="Freihand 38">
                  <a:extLst>
                    <a:ext uri="{FF2B5EF4-FFF2-40B4-BE49-F238E27FC236}">
                      <a16:creationId xmlns:a16="http://schemas.microsoft.com/office/drawing/2014/main" id="{D38BC7B2-7E59-7A52-C64F-3748FF0354E6}"/>
                    </a:ext>
                  </a:extLst>
                </p14:cNvPr>
                <p14:cNvContentPartPr/>
                <p14:nvPr/>
              </p14:nvContentPartPr>
              <p14:xfrm>
                <a:off x="1248308" y="1584235"/>
                <a:ext cx="302760" cy="570600"/>
              </p14:xfrm>
            </p:contentPart>
          </mc:Choice>
          <mc:Fallback>
            <p:pic>
              <p:nvPicPr>
                <p:cNvPr id="39" name="Freihand 38">
                  <a:extLst>
                    <a:ext uri="{FF2B5EF4-FFF2-40B4-BE49-F238E27FC236}">
                      <a16:creationId xmlns:a16="http://schemas.microsoft.com/office/drawing/2014/main" id="{D38BC7B2-7E59-7A52-C64F-3748FF0354E6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1230668" y="1566595"/>
                  <a:ext cx="338400" cy="60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7">
              <p14:nvContentPartPr>
                <p14:cNvPr id="40" name="Freihand 39">
                  <a:extLst>
                    <a:ext uri="{FF2B5EF4-FFF2-40B4-BE49-F238E27FC236}">
                      <a16:creationId xmlns:a16="http://schemas.microsoft.com/office/drawing/2014/main" id="{CCEC6571-3474-FAE0-6842-88C96E39361B}"/>
                    </a:ext>
                  </a:extLst>
                </p14:cNvPr>
                <p14:cNvContentPartPr/>
                <p14:nvPr/>
              </p14:nvContentPartPr>
              <p14:xfrm>
                <a:off x="1578428" y="1883755"/>
                <a:ext cx="307440" cy="41760"/>
              </p14:xfrm>
            </p:contentPart>
          </mc:Choice>
          <mc:Fallback>
            <p:pic>
              <p:nvPicPr>
                <p:cNvPr id="40" name="Freihand 39">
                  <a:extLst>
                    <a:ext uri="{FF2B5EF4-FFF2-40B4-BE49-F238E27FC236}">
                      <a16:creationId xmlns:a16="http://schemas.microsoft.com/office/drawing/2014/main" id="{CCEC6571-3474-FAE0-6842-88C96E39361B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560428" y="1866115"/>
                  <a:ext cx="343080" cy="77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9">
              <p14:nvContentPartPr>
                <p14:cNvPr id="42" name="Freihand 41">
                  <a:extLst>
                    <a:ext uri="{FF2B5EF4-FFF2-40B4-BE49-F238E27FC236}">
                      <a16:creationId xmlns:a16="http://schemas.microsoft.com/office/drawing/2014/main" id="{017DBD99-D4EC-D238-66E3-B0A7A6793D05}"/>
                    </a:ext>
                  </a:extLst>
                </p14:cNvPr>
                <p14:cNvContentPartPr/>
                <p14:nvPr/>
              </p14:nvContentPartPr>
              <p14:xfrm>
                <a:off x="2042828" y="1553995"/>
                <a:ext cx="43200" cy="416520"/>
              </p14:xfrm>
            </p:contentPart>
          </mc:Choice>
          <mc:Fallback>
            <p:pic>
              <p:nvPicPr>
                <p:cNvPr id="42" name="Freihand 41">
                  <a:extLst>
                    <a:ext uri="{FF2B5EF4-FFF2-40B4-BE49-F238E27FC236}">
                      <a16:creationId xmlns:a16="http://schemas.microsoft.com/office/drawing/2014/main" id="{017DBD99-D4EC-D238-66E3-B0A7A6793D05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2025188" y="1536355"/>
                  <a:ext cx="78840" cy="452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1">
              <p14:nvContentPartPr>
                <p14:cNvPr id="43" name="Freihand 42">
                  <a:extLst>
                    <a:ext uri="{FF2B5EF4-FFF2-40B4-BE49-F238E27FC236}">
                      <a16:creationId xmlns:a16="http://schemas.microsoft.com/office/drawing/2014/main" id="{C23012D8-C705-3CF9-2C90-2790D4726B23}"/>
                    </a:ext>
                  </a:extLst>
                </p14:cNvPr>
                <p14:cNvContentPartPr/>
                <p14:nvPr/>
              </p14:nvContentPartPr>
              <p14:xfrm>
                <a:off x="1917908" y="1667755"/>
                <a:ext cx="294840" cy="100440"/>
              </p14:xfrm>
            </p:contentPart>
          </mc:Choice>
          <mc:Fallback>
            <p:pic>
              <p:nvPicPr>
                <p:cNvPr id="43" name="Freihand 42">
                  <a:extLst>
                    <a:ext uri="{FF2B5EF4-FFF2-40B4-BE49-F238E27FC236}">
                      <a16:creationId xmlns:a16="http://schemas.microsoft.com/office/drawing/2014/main" id="{C23012D8-C705-3CF9-2C90-2790D4726B23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900268" y="1649755"/>
                  <a:ext cx="330480" cy="13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3">
              <p14:nvContentPartPr>
                <p14:cNvPr id="44" name="Freihand 43">
                  <a:extLst>
                    <a:ext uri="{FF2B5EF4-FFF2-40B4-BE49-F238E27FC236}">
                      <a16:creationId xmlns:a16="http://schemas.microsoft.com/office/drawing/2014/main" id="{E98383C8-CD59-0EEA-D335-03D9691969B7}"/>
                    </a:ext>
                  </a:extLst>
                </p14:cNvPr>
                <p14:cNvContentPartPr/>
                <p14:nvPr/>
              </p14:nvContentPartPr>
              <p14:xfrm>
                <a:off x="2122028" y="1822915"/>
                <a:ext cx="236160" cy="327960"/>
              </p14:xfrm>
            </p:contentPart>
          </mc:Choice>
          <mc:Fallback>
            <p:pic>
              <p:nvPicPr>
                <p:cNvPr id="44" name="Freihand 43">
                  <a:extLst>
                    <a:ext uri="{FF2B5EF4-FFF2-40B4-BE49-F238E27FC236}">
                      <a16:creationId xmlns:a16="http://schemas.microsoft.com/office/drawing/2014/main" id="{E98383C8-CD59-0EEA-D335-03D9691969B7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2104028" y="1805275"/>
                  <a:ext cx="271800" cy="36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5">
              <p14:nvContentPartPr>
                <p14:cNvPr id="46" name="Freihand 45">
                  <a:extLst>
                    <a:ext uri="{FF2B5EF4-FFF2-40B4-BE49-F238E27FC236}">
                      <a16:creationId xmlns:a16="http://schemas.microsoft.com/office/drawing/2014/main" id="{D59FBC77-D354-6E6B-BBD2-2E9391B26E92}"/>
                    </a:ext>
                  </a:extLst>
                </p14:cNvPr>
                <p14:cNvContentPartPr/>
                <p14:nvPr/>
              </p14:nvContentPartPr>
              <p14:xfrm>
                <a:off x="2397068" y="1478035"/>
                <a:ext cx="236880" cy="861480"/>
              </p14:xfrm>
            </p:contentPart>
          </mc:Choice>
          <mc:Fallback>
            <p:pic>
              <p:nvPicPr>
                <p:cNvPr id="46" name="Freihand 45">
                  <a:extLst>
                    <a:ext uri="{FF2B5EF4-FFF2-40B4-BE49-F238E27FC236}">
                      <a16:creationId xmlns:a16="http://schemas.microsoft.com/office/drawing/2014/main" id="{D59FBC77-D354-6E6B-BBD2-2E9391B26E92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2379068" y="1460035"/>
                  <a:ext cx="272520" cy="897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7">
              <p14:nvContentPartPr>
                <p14:cNvPr id="48" name="Freihand 47">
                  <a:extLst>
                    <a:ext uri="{FF2B5EF4-FFF2-40B4-BE49-F238E27FC236}">
                      <a16:creationId xmlns:a16="http://schemas.microsoft.com/office/drawing/2014/main" id="{42E5666E-B610-9D95-E6FA-C867C3BCB242}"/>
                    </a:ext>
                  </a:extLst>
                </p14:cNvPr>
                <p14:cNvContentPartPr/>
                <p14:nvPr/>
              </p14:nvContentPartPr>
              <p14:xfrm>
                <a:off x="1017908" y="1567315"/>
                <a:ext cx="179280" cy="959040"/>
              </p14:xfrm>
            </p:contentPart>
          </mc:Choice>
          <mc:Fallback>
            <p:pic>
              <p:nvPicPr>
                <p:cNvPr id="48" name="Freihand 47">
                  <a:extLst>
                    <a:ext uri="{FF2B5EF4-FFF2-40B4-BE49-F238E27FC236}">
                      <a16:creationId xmlns:a16="http://schemas.microsoft.com/office/drawing/2014/main" id="{42E5666E-B610-9D95-E6FA-C867C3BCB242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000268" y="1549675"/>
                  <a:ext cx="214920" cy="994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9">
              <p14:nvContentPartPr>
                <p14:cNvPr id="49" name="Freihand 48">
                  <a:extLst>
                    <a:ext uri="{FF2B5EF4-FFF2-40B4-BE49-F238E27FC236}">
                      <a16:creationId xmlns:a16="http://schemas.microsoft.com/office/drawing/2014/main" id="{9E6473B6-958C-23AB-F05E-FCA1925ED7E4}"/>
                    </a:ext>
                  </a:extLst>
                </p14:cNvPr>
                <p14:cNvContentPartPr/>
                <p14:nvPr/>
              </p14:nvContentPartPr>
              <p14:xfrm>
                <a:off x="2740148" y="1956835"/>
                <a:ext cx="59760" cy="80280"/>
              </p14:xfrm>
            </p:contentPart>
          </mc:Choice>
          <mc:Fallback>
            <p:pic>
              <p:nvPicPr>
                <p:cNvPr id="49" name="Freihand 48">
                  <a:extLst>
                    <a:ext uri="{FF2B5EF4-FFF2-40B4-BE49-F238E27FC236}">
                      <a16:creationId xmlns:a16="http://schemas.microsoft.com/office/drawing/2014/main" id="{9E6473B6-958C-23AB-F05E-FCA1925ED7E4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2722148" y="1939195"/>
                  <a:ext cx="95400" cy="1159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81">
            <p14:nvContentPartPr>
              <p14:cNvPr id="57" name="Freihand 56">
                <a:extLst>
                  <a:ext uri="{FF2B5EF4-FFF2-40B4-BE49-F238E27FC236}">
                    <a16:creationId xmlns:a16="http://schemas.microsoft.com/office/drawing/2014/main" id="{9FB59113-57CC-58F6-5568-E308C1E279A4}"/>
                  </a:ext>
                </a:extLst>
              </p14:cNvPr>
              <p14:cNvContentPartPr/>
              <p14:nvPr/>
            </p14:nvContentPartPr>
            <p14:xfrm>
              <a:off x="4790348" y="1324315"/>
              <a:ext cx="149040" cy="754200"/>
            </p14:xfrm>
          </p:contentPart>
        </mc:Choice>
        <mc:Fallback>
          <p:pic>
            <p:nvPicPr>
              <p:cNvPr id="57" name="Freihand 56">
                <a:extLst>
                  <a:ext uri="{FF2B5EF4-FFF2-40B4-BE49-F238E27FC236}">
                    <a16:creationId xmlns:a16="http://schemas.microsoft.com/office/drawing/2014/main" id="{9FB59113-57CC-58F6-5568-E308C1E279A4}"/>
                  </a:ext>
                </a:extLst>
              </p:cNvPr>
              <p:cNvPicPr/>
              <p:nvPr/>
            </p:nvPicPr>
            <p:blipFill>
              <a:blip r:embed="rId82"/>
              <a:stretch>
                <a:fillRect/>
              </a:stretch>
            </p:blipFill>
            <p:spPr>
              <a:xfrm>
                <a:off x="4772708" y="1306675"/>
                <a:ext cx="184680" cy="789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3">
            <p14:nvContentPartPr>
              <p14:cNvPr id="58" name="Freihand 57">
                <a:extLst>
                  <a:ext uri="{FF2B5EF4-FFF2-40B4-BE49-F238E27FC236}">
                    <a16:creationId xmlns:a16="http://schemas.microsoft.com/office/drawing/2014/main" id="{081ED665-332E-A10A-C175-6993C87D8552}"/>
                  </a:ext>
                </a:extLst>
              </p14:cNvPr>
              <p14:cNvContentPartPr/>
              <p14:nvPr/>
            </p14:nvContentPartPr>
            <p14:xfrm>
              <a:off x="5157188" y="1672075"/>
              <a:ext cx="199080" cy="120960"/>
            </p14:xfrm>
          </p:contentPart>
        </mc:Choice>
        <mc:Fallback>
          <p:pic>
            <p:nvPicPr>
              <p:cNvPr id="58" name="Freihand 57">
                <a:extLst>
                  <a:ext uri="{FF2B5EF4-FFF2-40B4-BE49-F238E27FC236}">
                    <a16:creationId xmlns:a16="http://schemas.microsoft.com/office/drawing/2014/main" id="{081ED665-332E-A10A-C175-6993C87D8552}"/>
                  </a:ext>
                </a:extLst>
              </p:cNvPr>
              <p:cNvPicPr/>
              <p:nvPr/>
            </p:nvPicPr>
            <p:blipFill>
              <a:blip r:embed="rId84"/>
              <a:stretch>
                <a:fillRect/>
              </a:stretch>
            </p:blipFill>
            <p:spPr>
              <a:xfrm>
                <a:off x="5139188" y="1654435"/>
                <a:ext cx="234720" cy="156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5">
            <p14:nvContentPartPr>
              <p14:cNvPr id="59" name="Freihand 58">
                <a:extLst>
                  <a:ext uri="{FF2B5EF4-FFF2-40B4-BE49-F238E27FC236}">
                    <a16:creationId xmlns:a16="http://schemas.microsoft.com/office/drawing/2014/main" id="{AF23C597-35B9-76D5-8F75-2E9098188DA3}"/>
                  </a:ext>
                </a:extLst>
              </p14:cNvPr>
              <p14:cNvContentPartPr/>
              <p14:nvPr/>
            </p14:nvContentPartPr>
            <p14:xfrm>
              <a:off x="5158988" y="1533835"/>
              <a:ext cx="231120" cy="329400"/>
            </p14:xfrm>
          </p:contentPart>
        </mc:Choice>
        <mc:Fallback>
          <p:pic>
            <p:nvPicPr>
              <p:cNvPr id="59" name="Freihand 58">
                <a:extLst>
                  <a:ext uri="{FF2B5EF4-FFF2-40B4-BE49-F238E27FC236}">
                    <a16:creationId xmlns:a16="http://schemas.microsoft.com/office/drawing/2014/main" id="{AF23C597-35B9-76D5-8F75-2E9098188DA3}"/>
                  </a:ext>
                </a:extLst>
              </p:cNvPr>
              <p:cNvPicPr/>
              <p:nvPr/>
            </p:nvPicPr>
            <p:blipFill>
              <a:blip r:embed="rId86"/>
              <a:stretch>
                <a:fillRect/>
              </a:stretch>
            </p:blipFill>
            <p:spPr>
              <a:xfrm>
                <a:off x="5141348" y="1515835"/>
                <a:ext cx="266760" cy="365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7">
            <p14:nvContentPartPr>
              <p14:cNvPr id="60" name="Freihand 59">
                <a:extLst>
                  <a:ext uri="{FF2B5EF4-FFF2-40B4-BE49-F238E27FC236}">
                    <a16:creationId xmlns:a16="http://schemas.microsoft.com/office/drawing/2014/main" id="{4FAC392A-16CC-B83B-C620-0F400496768B}"/>
                  </a:ext>
                </a:extLst>
              </p14:cNvPr>
              <p14:cNvContentPartPr/>
              <p14:nvPr/>
            </p14:nvContentPartPr>
            <p14:xfrm>
              <a:off x="5133428" y="1640035"/>
              <a:ext cx="137880" cy="141480"/>
            </p14:xfrm>
          </p:contentPart>
        </mc:Choice>
        <mc:Fallback>
          <p:pic>
            <p:nvPicPr>
              <p:cNvPr id="60" name="Freihand 59">
                <a:extLst>
                  <a:ext uri="{FF2B5EF4-FFF2-40B4-BE49-F238E27FC236}">
                    <a16:creationId xmlns:a16="http://schemas.microsoft.com/office/drawing/2014/main" id="{4FAC392A-16CC-B83B-C620-0F400496768B}"/>
                  </a:ext>
                </a:extLst>
              </p:cNvPr>
              <p:cNvPicPr/>
              <p:nvPr/>
            </p:nvPicPr>
            <p:blipFill>
              <a:blip r:embed="rId88"/>
              <a:stretch>
                <a:fillRect/>
              </a:stretch>
            </p:blipFill>
            <p:spPr>
              <a:xfrm>
                <a:off x="5115428" y="1622395"/>
                <a:ext cx="173520" cy="177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89">
            <p14:nvContentPartPr>
              <p14:cNvPr id="62" name="Freihand 61">
                <a:extLst>
                  <a:ext uri="{FF2B5EF4-FFF2-40B4-BE49-F238E27FC236}">
                    <a16:creationId xmlns:a16="http://schemas.microsoft.com/office/drawing/2014/main" id="{76A70DC8-C909-6113-15C5-37D08BFC17C4}"/>
                  </a:ext>
                </a:extLst>
              </p14:cNvPr>
              <p14:cNvContentPartPr/>
              <p14:nvPr/>
            </p14:nvContentPartPr>
            <p14:xfrm>
              <a:off x="5641748" y="1233235"/>
              <a:ext cx="192960" cy="297360"/>
            </p14:xfrm>
          </p:contentPart>
        </mc:Choice>
        <mc:Fallback>
          <p:pic>
            <p:nvPicPr>
              <p:cNvPr id="62" name="Freihand 61">
                <a:extLst>
                  <a:ext uri="{FF2B5EF4-FFF2-40B4-BE49-F238E27FC236}">
                    <a16:creationId xmlns:a16="http://schemas.microsoft.com/office/drawing/2014/main" id="{76A70DC8-C909-6113-15C5-37D08BFC17C4}"/>
                  </a:ext>
                </a:extLst>
              </p:cNvPr>
              <p:cNvPicPr/>
              <p:nvPr/>
            </p:nvPicPr>
            <p:blipFill>
              <a:blip r:embed="rId90"/>
              <a:stretch>
                <a:fillRect/>
              </a:stretch>
            </p:blipFill>
            <p:spPr>
              <a:xfrm>
                <a:off x="5623748" y="1215235"/>
                <a:ext cx="228600" cy="333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1">
            <p14:nvContentPartPr>
              <p14:cNvPr id="63" name="Freihand 62">
                <a:extLst>
                  <a:ext uri="{FF2B5EF4-FFF2-40B4-BE49-F238E27FC236}">
                    <a16:creationId xmlns:a16="http://schemas.microsoft.com/office/drawing/2014/main" id="{83F9E9EE-BC27-63C1-BA6C-5FEEEAADD94A}"/>
                  </a:ext>
                </a:extLst>
              </p14:cNvPr>
              <p14:cNvContentPartPr/>
              <p14:nvPr/>
            </p14:nvContentPartPr>
            <p14:xfrm>
              <a:off x="5544908" y="1415035"/>
              <a:ext cx="354240" cy="364680"/>
            </p14:xfrm>
          </p:contentPart>
        </mc:Choice>
        <mc:Fallback>
          <p:pic>
            <p:nvPicPr>
              <p:cNvPr id="63" name="Freihand 62">
                <a:extLst>
                  <a:ext uri="{FF2B5EF4-FFF2-40B4-BE49-F238E27FC236}">
                    <a16:creationId xmlns:a16="http://schemas.microsoft.com/office/drawing/2014/main" id="{83F9E9EE-BC27-63C1-BA6C-5FEEEAADD94A}"/>
                  </a:ext>
                </a:extLst>
              </p:cNvPr>
              <p:cNvPicPr/>
              <p:nvPr/>
            </p:nvPicPr>
            <p:blipFill>
              <a:blip r:embed="rId92"/>
              <a:stretch>
                <a:fillRect/>
              </a:stretch>
            </p:blipFill>
            <p:spPr>
              <a:xfrm>
                <a:off x="5527268" y="1397035"/>
                <a:ext cx="389880" cy="400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3">
            <p14:nvContentPartPr>
              <p14:cNvPr id="64" name="Freihand 63">
                <a:extLst>
                  <a:ext uri="{FF2B5EF4-FFF2-40B4-BE49-F238E27FC236}">
                    <a16:creationId xmlns:a16="http://schemas.microsoft.com/office/drawing/2014/main" id="{C15210B3-157E-4887-D6B1-66C794324806}"/>
                  </a:ext>
                </a:extLst>
              </p14:cNvPr>
              <p14:cNvContentPartPr/>
              <p14:nvPr/>
            </p14:nvContentPartPr>
            <p14:xfrm>
              <a:off x="6015428" y="1637515"/>
              <a:ext cx="222480" cy="182160"/>
            </p14:xfrm>
          </p:contentPart>
        </mc:Choice>
        <mc:Fallback>
          <p:pic>
            <p:nvPicPr>
              <p:cNvPr id="64" name="Freihand 63">
                <a:extLst>
                  <a:ext uri="{FF2B5EF4-FFF2-40B4-BE49-F238E27FC236}">
                    <a16:creationId xmlns:a16="http://schemas.microsoft.com/office/drawing/2014/main" id="{C15210B3-157E-4887-D6B1-66C794324806}"/>
                  </a:ext>
                </a:extLst>
              </p:cNvPr>
              <p:cNvPicPr/>
              <p:nvPr/>
            </p:nvPicPr>
            <p:blipFill>
              <a:blip r:embed="rId94"/>
              <a:stretch>
                <a:fillRect/>
              </a:stretch>
            </p:blipFill>
            <p:spPr>
              <a:xfrm>
                <a:off x="5997788" y="1619875"/>
                <a:ext cx="258120" cy="217800"/>
              </a:xfrm>
              <a:prstGeom prst="rect">
                <a:avLst/>
              </a:prstGeom>
            </p:spPr>
          </p:pic>
        </mc:Fallback>
      </mc:AlternateContent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A36B19CC-7316-DD63-0178-4DB00C770482}"/>
              </a:ext>
            </a:extLst>
          </p:cNvPr>
          <p:cNvGrpSpPr/>
          <p:nvPr/>
        </p:nvGrpSpPr>
        <p:grpSpPr>
          <a:xfrm>
            <a:off x="6480548" y="1469035"/>
            <a:ext cx="245880" cy="335520"/>
            <a:chOff x="6480548" y="1469035"/>
            <a:chExt cx="245880" cy="335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5">
              <p14:nvContentPartPr>
                <p14:cNvPr id="66" name="Freihand 65">
                  <a:extLst>
                    <a:ext uri="{FF2B5EF4-FFF2-40B4-BE49-F238E27FC236}">
                      <a16:creationId xmlns:a16="http://schemas.microsoft.com/office/drawing/2014/main" id="{01E9E2E4-A62D-5119-AA86-B2959FDB3BB7}"/>
                    </a:ext>
                  </a:extLst>
                </p14:cNvPr>
                <p14:cNvContentPartPr/>
                <p14:nvPr/>
              </p14:nvContentPartPr>
              <p14:xfrm>
                <a:off x="6480548" y="1627795"/>
                <a:ext cx="245880" cy="53280"/>
              </p14:xfrm>
            </p:contentPart>
          </mc:Choice>
          <mc:Fallback>
            <p:pic>
              <p:nvPicPr>
                <p:cNvPr id="66" name="Freihand 65">
                  <a:extLst>
                    <a:ext uri="{FF2B5EF4-FFF2-40B4-BE49-F238E27FC236}">
                      <a16:creationId xmlns:a16="http://schemas.microsoft.com/office/drawing/2014/main" id="{01E9E2E4-A62D-5119-AA86-B2959FDB3BB7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6462908" y="1609795"/>
                  <a:ext cx="281520" cy="88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7">
              <p14:nvContentPartPr>
                <p14:cNvPr id="67" name="Freihand 66">
                  <a:extLst>
                    <a:ext uri="{FF2B5EF4-FFF2-40B4-BE49-F238E27FC236}">
                      <a16:creationId xmlns:a16="http://schemas.microsoft.com/office/drawing/2014/main" id="{1D9292BD-D54C-5241-BE4C-6BF8AB8A81C7}"/>
                    </a:ext>
                  </a:extLst>
                </p14:cNvPr>
                <p14:cNvContentPartPr/>
                <p14:nvPr/>
              </p14:nvContentPartPr>
              <p14:xfrm>
                <a:off x="6600428" y="1469035"/>
                <a:ext cx="33120" cy="335520"/>
              </p14:xfrm>
            </p:contentPart>
          </mc:Choice>
          <mc:Fallback>
            <p:pic>
              <p:nvPicPr>
                <p:cNvPr id="67" name="Freihand 66">
                  <a:extLst>
                    <a:ext uri="{FF2B5EF4-FFF2-40B4-BE49-F238E27FC236}">
                      <a16:creationId xmlns:a16="http://schemas.microsoft.com/office/drawing/2014/main" id="{1D9292BD-D54C-5241-BE4C-6BF8AB8A81C7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6582788" y="1451035"/>
                  <a:ext cx="68760" cy="3711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FCFDF11D-32F5-F05D-1FE0-0931D6E79E49}"/>
              </a:ext>
            </a:extLst>
          </p:cNvPr>
          <p:cNvGrpSpPr/>
          <p:nvPr/>
        </p:nvGrpSpPr>
        <p:grpSpPr>
          <a:xfrm>
            <a:off x="6907508" y="1180675"/>
            <a:ext cx="773640" cy="632880"/>
            <a:chOff x="6907508" y="1180675"/>
            <a:chExt cx="773640" cy="632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99">
              <p14:nvContentPartPr>
                <p14:cNvPr id="69" name="Freihand 68">
                  <a:extLst>
                    <a:ext uri="{FF2B5EF4-FFF2-40B4-BE49-F238E27FC236}">
                      <a16:creationId xmlns:a16="http://schemas.microsoft.com/office/drawing/2014/main" id="{714EDB03-AC80-3AE2-79E9-CAB2D6B95220}"/>
                    </a:ext>
                  </a:extLst>
                </p14:cNvPr>
                <p14:cNvContentPartPr/>
                <p14:nvPr/>
              </p14:nvContentPartPr>
              <p14:xfrm>
                <a:off x="6999308" y="1180675"/>
                <a:ext cx="46800" cy="555480"/>
              </p14:xfrm>
            </p:contentPart>
          </mc:Choice>
          <mc:Fallback>
            <p:pic>
              <p:nvPicPr>
                <p:cNvPr id="69" name="Freihand 68">
                  <a:extLst>
                    <a:ext uri="{FF2B5EF4-FFF2-40B4-BE49-F238E27FC236}">
                      <a16:creationId xmlns:a16="http://schemas.microsoft.com/office/drawing/2014/main" id="{714EDB03-AC80-3AE2-79E9-CAB2D6B95220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6981668" y="1163035"/>
                  <a:ext cx="82440" cy="59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1">
              <p14:nvContentPartPr>
                <p14:cNvPr id="70" name="Freihand 69">
                  <a:extLst>
                    <a:ext uri="{FF2B5EF4-FFF2-40B4-BE49-F238E27FC236}">
                      <a16:creationId xmlns:a16="http://schemas.microsoft.com/office/drawing/2014/main" id="{9E430CDA-E81B-778D-FA21-2113AF794DB9}"/>
                    </a:ext>
                  </a:extLst>
                </p14:cNvPr>
                <p14:cNvContentPartPr/>
                <p14:nvPr/>
              </p14:nvContentPartPr>
              <p14:xfrm>
                <a:off x="6907508" y="1422235"/>
                <a:ext cx="180000" cy="50400"/>
              </p14:xfrm>
            </p:contentPart>
          </mc:Choice>
          <mc:Fallback>
            <p:pic>
              <p:nvPicPr>
                <p:cNvPr id="70" name="Freihand 69">
                  <a:extLst>
                    <a:ext uri="{FF2B5EF4-FFF2-40B4-BE49-F238E27FC236}">
                      <a16:creationId xmlns:a16="http://schemas.microsoft.com/office/drawing/2014/main" id="{9E430CDA-E81B-778D-FA21-2113AF794DB9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6889508" y="1404235"/>
                  <a:ext cx="215640" cy="8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3">
              <p14:nvContentPartPr>
                <p14:cNvPr id="71" name="Freihand 70">
                  <a:extLst>
                    <a:ext uri="{FF2B5EF4-FFF2-40B4-BE49-F238E27FC236}">
                      <a16:creationId xmlns:a16="http://schemas.microsoft.com/office/drawing/2014/main" id="{C253A4F6-B5F2-B0AC-2A86-2C8F3D7915E3}"/>
                    </a:ext>
                  </a:extLst>
                </p14:cNvPr>
                <p14:cNvContentPartPr/>
                <p14:nvPr/>
              </p14:nvContentPartPr>
              <p14:xfrm>
                <a:off x="7181468" y="1524115"/>
                <a:ext cx="38520" cy="75600"/>
              </p14:xfrm>
            </p:contentPart>
          </mc:Choice>
          <mc:Fallback>
            <p:pic>
              <p:nvPicPr>
                <p:cNvPr id="71" name="Freihand 70">
                  <a:extLst>
                    <a:ext uri="{FF2B5EF4-FFF2-40B4-BE49-F238E27FC236}">
                      <a16:creationId xmlns:a16="http://schemas.microsoft.com/office/drawing/2014/main" id="{C253A4F6-B5F2-B0AC-2A86-2C8F3D7915E3}"/>
                    </a:ext>
                  </a:extLst>
                </p:cNvPr>
                <p:cNvPicPr/>
                <p:nvPr/>
              </p:nvPicPr>
              <p:blipFill>
                <a:blip r:embed="rId104"/>
                <a:stretch>
                  <a:fillRect/>
                </a:stretch>
              </p:blipFill>
              <p:spPr>
                <a:xfrm>
                  <a:off x="7163468" y="1506475"/>
                  <a:ext cx="74160" cy="11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5">
              <p14:nvContentPartPr>
                <p14:cNvPr id="73" name="Freihand 72">
                  <a:extLst>
                    <a:ext uri="{FF2B5EF4-FFF2-40B4-BE49-F238E27FC236}">
                      <a16:creationId xmlns:a16="http://schemas.microsoft.com/office/drawing/2014/main" id="{348173AB-04F3-33C5-FE97-188043488170}"/>
                    </a:ext>
                  </a:extLst>
                </p14:cNvPr>
                <p14:cNvContentPartPr/>
                <p14:nvPr/>
              </p14:nvContentPartPr>
              <p14:xfrm>
                <a:off x="7332308" y="1468675"/>
                <a:ext cx="209880" cy="337320"/>
              </p14:xfrm>
            </p:contentPart>
          </mc:Choice>
          <mc:Fallback>
            <p:pic>
              <p:nvPicPr>
                <p:cNvPr id="73" name="Freihand 72">
                  <a:extLst>
                    <a:ext uri="{FF2B5EF4-FFF2-40B4-BE49-F238E27FC236}">
                      <a16:creationId xmlns:a16="http://schemas.microsoft.com/office/drawing/2014/main" id="{348173AB-04F3-33C5-FE97-188043488170}"/>
                    </a:ext>
                  </a:extLst>
                </p:cNvPr>
                <p:cNvPicPr/>
                <p:nvPr/>
              </p:nvPicPr>
              <p:blipFill>
                <a:blip r:embed="rId106"/>
                <a:stretch>
                  <a:fillRect/>
                </a:stretch>
              </p:blipFill>
              <p:spPr>
                <a:xfrm>
                  <a:off x="7314308" y="1451035"/>
                  <a:ext cx="245520" cy="372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7">
              <p14:nvContentPartPr>
                <p14:cNvPr id="74" name="Freihand 73">
                  <a:extLst>
                    <a:ext uri="{FF2B5EF4-FFF2-40B4-BE49-F238E27FC236}">
                      <a16:creationId xmlns:a16="http://schemas.microsoft.com/office/drawing/2014/main" id="{4D26E54F-5321-4B4E-3576-A7B9A7A579EB}"/>
                    </a:ext>
                  </a:extLst>
                </p14:cNvPr>
                <p14:cNvContentPartPr/>
                <p14:nvPr/>
              </p14:nvContentPartPr>
              <p14:xfrm>
                <a:off x="7524548" y="1576315"/>
                <a:ext cx="156600" cy="237240"/>
              </p14:xfrm>
            </p:contentPart>
          </mc:Choice>
          <mc:Fallback>
            <p:pic>
              <p:nvPicPr>
                <p:cNvPr id="74" name="Freihand 73">
                  <a:extLst>
                    <a:ext uri="{FF2B5EF4-FFF2-40B4-BE49-F238E27FC236}">
                      <a16:creationId xmlns:a16="http://schemas.microsoft.com/office/drawing/2014/main" id="{4D26E54F-5321-4B4E-3576-A7B9A7A579EB}"/>
                    </a:ext>
                  </a:extLst>
                </p:cNvPr>
                <p:cNvPicPr/>
                <p:nvPr/>
              </p:nvPicPr>
              <p:blipFill>
                <a:blip r:embed="rId108"/>
                <a:stretch>
                  <a:fillRect/>
                </a:stretch>
              </p:blipFill>
              <p:spPr>
                <a:xfrm>
                  <a:off x="7506908" y="1558675"/>
                  <a:ext cx="192240" cy="27288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09">
            <p14:nvContentPartPr>
              <p14:cNvPr id="76" name="Freihand 75">
                <a:extLst>
                  <a:ext uri="{FF2B5EF4-FFF2-40B4-BE49-F238E27FC236}">
                    <a16:creationId xmlns:a16="http://schemas.microsoft.com/office/drawing/2014/main" id="{203893E4-EC19-0E99-65A0-F4F7B7DE9637}"/>
                  </a:ext>
                </a:extLst>
              </p14:cNvPr>
              <p14:cNvContentPartPr/>
              <p14:nvPr/>
            </p14:nvContentPartPr>
            <p14:xfrm>
              <a:off x="7831628" y="1185355"/>
              <a:ext cx="246240" cy="897120"/>
            </p14:xfrm>
          </p:contentPart>
        </mc:Choice>
        <mc:Fallback>
          <p:pic>
            <p:nvPicPr>
              <p:cNvPr id="76" name="Freihand 75">
                <a:extLst>
                  <a:ext uri="{FF2B5EF4-FFF2-40B4-BE49-F238E27FC236}">
                    <a16:creationId xmlns:a16="http://schemas.microsoft.com/office/drawing/2014/main" id="{203893E4-EC19-0E99-65A0-F4F7B7DE9637}"/>
                  </a:ext>
                </a:extLst>
              </p:cNvPr>
              <p:cNvPicPr/>
              <p:nvPr/>
            </p:nvPicPr>
            <p:blipFill>
              <a:blip r:embed="rId110"/>
              <a:stretch>
                <a:fillRect/>
              </a:stretch>
            </p:blipFill>
            <p:spPr>
              <a:xfrm>
                <a:off x="7813628" y="1167355"/>
                <a:ext cx="281880" cy="932760"/>
              </a:xfrm>
              <a:prstGeom prst="rect">
                <a:avLst/>
              </a:prstGeom>
            </p:spPr>
          </p:pic>
        </mc:Fallback>
      </mc:AlternateContent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36CD8E1C-5A7F-13EA-D0FA-10FD00BADA18}"/>
              </a:ext>
            </a:extLst>
          </p:cNvPr>
          <p:cNvGrpSpPr/>
          <p:nvPr/>
        </p:nvGrpSpPr>
        <p:grpSpPr>
          <a:xfrm>
            <a:off x="3187628" y="1344115"/>
            <a:ext cx="1543680" cy="1162800"/>
            <a:chOff x="3187628" y="1344115"/>
            <a:chExt cx="1543680" cy="1162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1">
              <p14:nvContentPartPr>
                <p14:cNvPr id="51" name="Freihand 50">
                  <a:extLst>
                    <a:ext uri="{FF2B5EF4-FFF2-40B4-BE49-F238E27FC236}">
                      <a16:creationId xmlns:a16="http://schemas.microsoft.com/office/drawing/2014/main" id="{B0E03939-82A8-BFE0-23D7-BF4A840BDC18}"/>
                    </a:ext>
                  </a:extLst>
                </p14:cNvPr>
                <p14:cNvContentPartPr/>
                <p14:nvPr/>
              </p14:nvContentPartPr>
              <p14:xfrm>
                <a:off x="3187628" y="1413955"/>
                <a:ext cx="401760" cy="1092960"/>
              </p14:xfrm>
            </p:contentPart>
          </mc:Choice>
          <mc:Fallback>
            <p:pic>
              <p:nvPicPr>
                <p:cNvPr id="51" name="Freihand 50">
                  <a:extLst>
                    <a:ext uri="{FF2B5EF4-FFF2-40B4-BE49-F238E27FC236}">
                      <a16:creationId xmlns:a16="http://schemas.microsoft.com/office/drawing/2014/main" id="{B0E03939-82A8-BFE0-23D7-BF4A840BDC18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3169988" y="1396315"/>
                  <a:ext cx="437400" cy="1128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3">
              <p14:nvContentPartPr>
                <p14:cNvPr id="52" name="Freihand 51">
                  <a:extLst>
                    <a:ext uri="{FF2B5EF4-FFF2-40B4-BE49-F238E27FC236}">
                      <a16:creationId xmlns:a16="http://schemas.microsoft.com/office/drawing/2014/main" id="{214B454E-609B-1217-D2E6-09C75A79432B}"/>
                    </a:ext>
                  </a:extLst>
                </p14:cNvPr>
                <p14:cNvContentPartPr/>
                <p14:nvPr/>
              </p14:nvContentPartPr>
              <p14:xfrm>
                <a:off x="3652028" y="1553995"/>
                <a:ext cx="220320" cy="482760"/>
              </p14:xfrm>
            </p:contentPart>
          </mc:Choice>
          <mc:Fallback>
            <p:pic>
              <p:nvPicPr>
                <p:cNvPr id="52" name="Freihand 51">
                  <a:extLst>
                    <a:ext uri="{FF2B5EF4-FFF2-40B4-BE49-F238E27FC236}">
                      <a16:creationId xmlns:a16="http://schemas.microsoft.com/office/drawing/2014/main" id="{214B454E-609B-1217-D2E6-09C75A79432B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3634388" y="1536355"/>
                  <a:ext cx="255960" cy="51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5">
              <p14:nvContentPartPr>
                <p14:cNvPr id="53" name="Freihand 52">
                  <a:extLst>
                    <a:ext uri="{FF2B5EF4-FFF2-40B4-BE49-F238E27FC236}">
                      <a16:creationId xmlns:a16="http://schemas.microsoft.com/office/drawing/2014/main" id="{DEAB9CE7-EEB9-569A-06D6-D4F7DCF4C78D}"/>
                    </a:ext>
                  </a:extLst>
                </p14:cNvPr>
                <p14:cNvContentPartPr/>
                <p14:nvPr/>
              </p14:nvContentPartPr>
              <p14:xfrm>
                <a:off x="4010588" y="1784035"/>
                <a:ext cx="326880" cy="51840"/>
              </p14:xfrm>
            </p:contentPart>
          </mc:Choice>
          <mc:Fallback>
            <p:pic>
              <p:nvPicPr>
                <p:cNvPr id="53" name="Freihand 52">
                  <a:extLst>
                    <a:ext uri="{FF2B5EF4-FFF2-40B4-BE49-F238E27FC236}">
                      <a16:creationId xmlns:a16="http://schemas.microsoft.com/office/drawing/2014/main" id="{DEAB9CE7-EEB9-569A-06D6-D4F7DCF4C78D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3992588" y="1766035"/>
                  <a:ext cx="362520" cy="8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7">
              <p14:nvContentPartPr>
                <p14:cNvPr id="54" name="Freihand 53">
                  <a:extLst>
                    <a:ext uri="{FF2B5EF4-FFF2-40B4-BE49-F238E27FC236}">
                      <a16:creationId xmlns:a16="http://schemas.microsoft.com/office/drawing/2014/main" id="{D85436E6-D6DE-54FE-CD96-7E7A4E88D762}"/>
                    </a:ext>
                  </a:extLst>
                </p14:cNvPr>
                <p14:cNvContentPartPr/>
                <p14:nvPr/>
              </p14:nvContentPartPr>
              <p14:xfrm>
                <a:off x="4546988" y="1420075"/>
                <a:ext cx="40320" cy="574200"/>
              </p14:xfrm>
            </p:contentPart>
          </mc:Choice>
          <mc:Fallback>
            <p:pic>
              <p:nvPicPr>
                <p:cNvPr id="54" name="Freihand 53">
                  <a:extLst>
                    <a:ext uri="{FF2B5EF4-FFF2-40B4-BE49-F238E27FC236}">
                      <a16:creationId xmlns:a16="http://schemas.microsoft.com/office/drawing/2014/main" id="{D85436E6-D6DE-54FE-CD96-7E7A4E88D762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4528988" y="1402435"/>
                  <a:ext cx="75960" cy="60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9">
              <p14:nvContentPartPr>
                <p14:cNvPr id="55" name="Freihand 54">
                  <a:extLst>
                    <a:ext uri="{FF2B5EF4-FFF2-40B4-BE49-F238E27FC236}">
                      <a16:creationId xmlns:a16="http://schemas.microsoft.com/office/drawing/2014/main" id="{D3CC2391-4E27-1633-8D3A-D07F789477A8}"/>
                    </a:ext>
                  </a:extLst>
                </p14:cNvPr>
                <p14:cNvContentPartPr/>
                <p14:nvPr/>
              </p14:nvContentPartPr>
              <p14:xfrm>
                <a:off x="4425668" y="1655875"/>
                <a:ext cx="305640" cy="32760"/>
              </p14:xfrm>
            </p:contentPart>
          </mc:Choice>
          <mc:Fallback>
            <p:pic>
              <p:nvPicPr>
                <p:cNvPr id="55" name="Freihand 54">
                  <a:extLst>
                    <a:ext uri="{FF2B5EF4-FFF2-40B4-BE49-F238E27FC236}">
                      <a16:creationId xmlns:a16="http://schemas.microsoft.com/office/drawing/2014/main" id="{D3CC2391-4E27-1633-8D3A-D07F789477A8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4407668" y="1637875"/>
                  <a:ext cx="341280" cy="6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1">
              <p14:nvContentPartPr>
                <p14:cNvPr id="77" name="Freihand 76">
                  <a:extLst>
                    <a:ext uri="{FF2B5EF4-FFF2-40B4-BE49-F238E27FC236}">
                      <a16:creationId xmlns:a16="http://schemas.microsoft.com/office/drawing/2014/main" id="{F82A9B61-6C34-85C3-1946-C3A221346990}"/>
                    </a:ext>
                  </a:extLst>
                </p14:cNvPr>
                <p14:cNvContentPartPr/>
                <p14:nvPr/>
              </p14:nvContentPartPr>
              <p14:xfrm>
                <a:off x="3541508" y="1344115"/>
                <a:ext cx="170640" cy="856800"/>
              </p14:xfrm>
            </p:contentPart>
          </mc:Choice>
          <mc:Fallback>
            <p:pic>
              <p:nvPicPr>
                <p:cNvPr id="77" name="Freihand 76">
                  <a:extLst>
                    <a:ext uri="{FF2B5EF4-FFF2-40B4-BE49-F238E27FC236}">
                      <a16:creationId xmlns:a16="http://schemas.microsoft.com/office/drawing/2014/main" id="{F82A9B61-6C34-85C3-1946-C3A221346990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3523508" y="1326115"/>
                  <a:ext cx="206280" cy="892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8411E2CF-3332-6F73-0F9F-9D48A80044DE}"/>
              </a:ext>
            </a:extLst>
          </p:cNvPr>
          <p:cNvGrpSpPr/>
          <p:nvPr/>
        </p:nvGrpSpPr>
        <p:grpSpPr>
          <a:xfrm>
            <a:off x="418868" y="3058075"/>
            <a:ext cx="1423080" cy="1081080"/>
            <a:chOff x="418868" y="3058075"/>
            <a:chExt cx="1423080" cy="10810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23">
              <p14:nvContentPartPr>
                <p14:cNvPr id="110" name="Freihand 109">
                  <a:extLst>
                    <a:ext uri="{FF2B5EF4-FFF2-40B4-BE49-F238E27FC236}">
                      <a16:creationId xmlns:a16="http://schemas.microsoft.com/office/drawing/2014/main" id="{B57F944C-9811-5147-A05C-A36A82001DB7}"/>
                    </a:ext>
                  </a:extLst>
                </p14:cNvPr>
                <p14:cNvContentPartPr/>
                <p14:nvPr/>
              </p14:nvContentPartPr>
              <p14:xfrm>
                <a:off x="418868" y="3658915"/>
                <a:ext cx="434160" cy="83880"/>
              </p14:xfrm>
            </p:contentPart>
          </mc:Choice>
          <mc:Fallback>
            <p:pic>
              <p:nvPicPr>
                <p:cNvPr id="110" name="Freihand 109">
                  <a:extLst>
                    <a:ext uri="{FF2B5EF4-FFF2-40B4-BE49-F238E27FC236}">
                      <a16:creationId xmlns:a16="http://schemas.microsoft.com/office/drawing/2014/main" id="{B57F944C-9811-5147-A05C-A36A82001DB7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401228" y="3641275"/>
                  <a:ext cx="469800" cy="119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5">
              <p14:nvContentPartPr>
                <p14:cNvPr id="111" name="Freihand 110">
                  <a:extLst>
                    <a:ext uri="{FF2B5EF4-FFF2-40B4-BE49-F238E27FC236}">
                      <a16:creationId xmlns:a16="http://schemas.microsoft.com/office/drawing/2014/main" id="{2B5C9C44-C37D-1E40-979A-A9557A66A98B}"/>
                    </a:ext>
                  </a:extLst>
                </p14:cNvPr>
                <p14:cNvContentPartPr/>
                <p14:nvPr/>
              </p14:nvContentPartPr>
              <p14:xfrm>
                <a:off x="428588" y="3544435"/>
                <a:ext cx="313560" cy="41040"/>
              </p14:xfrm>
            </p:contentPart>
          </mc:Choice>
          <mc:Fallback>
            <p:pic>
              <p:nvPicPr>
                <p:cNvPr id="111" name="Freihand 110">
                  <a:extLst>
                    <a:ext uri="{FF2B5EF4-FFF2-40B4-BE49-F238E27FC236}">
                      <a16:creationId xmlns:a16="http://schemas.microsoft.com/office/drawing/2014/main" id="{2B5C9C44-C37D-1E40-979A-A9557A66A98B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410948" y="3526795"/>
                  <a:ext cx="349200" cy="7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7">
              <p14:nvContentPartPr>
                <p14:cNvPr id="112" name="Freihand 111">
                  <a:extLst>
                    <a:ext uri="{FF2B5EF4-FFF2-40B4-BE49-F238E27FC236}">
                      <a16:creationId xmlns:a16="http://schemas.microsoft.com/office/drawing/2014/main" id="{ADD43EBC-0C19-AF8F-2021-FDF5E6D3AD57}"/>
                    </a:ext>
                  </a:extLst>
                </p14:cNvPr>
                <p14:cNvContentPartPr/>
                <p14:nvPr/>
              </p14:nvContentPartPr>
              <p14:xfrm>
                <a:off x="546668" y="3094435"/>
                <a:ext cx="27720" cy="245520"/>
              </p14:xfrm>
            </p:contentPart>
          </mc:Choice>
          <mc:Fallback>
            <p:pic>
              <p:nvPicPr>
                <p:cNvPr id="112" name="Freihand 111">
                  <a:extLst>
                    <a:ext uri="{FF2B5EF4-FFF2-40B4-BE49-F238E27FC236}">
                      <a16:creationId xmlns:a16="http://schemas.microsoft.com/office/drawing/2014/main" id="{ADD43EBC-0C19-AF8F-2021-FDF5E6D3AD57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528668" y="3076795"/>
                  <a:ext cx="63360" cy="28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9">
              <p14:nvContentPartPr>
                <p14:cNvPr id="113" name="Freihand 112">
                  <a:extLst>
                    <a:ext uri="{FF2B5EF4-FFF2-40B4-BE49-F238E27FC236}">
                      <a16:creationId xmlns:a16="http://schemas.microsoft.com/office/drawing/2014/main" id="{75430B37-E40D-90BF-E97A-7222409DE5DE}"/>
                    </a:ext>
                  </a:extLst>
                </p14:cNvPr>
                <p14:cNvContentPartPr/>
                <p14:nvPr/>
              </p14:nvContentPartPr>
              <p14:xfrm>
                <a:off x="557468" y="3415195"/>
                <a:ext cx="63360" cy="36000"/>
              </p14:xfrm>
            </p:contentPart>
          </mc:Choice>
          <mc:Fallback>
            <p:pic>
              <p:nvPicPr>
                <p:cNvPr id="113" name="Freihand 112">
                  <a:extLst>
                    <a:ext uri="{FF2B5EF4-FFF2-40B4-BE49-F238E27FC236}">
                      <a16:creationId xmlns:a16="http://schemas.microsoft.com/office/drawing/2014/main" id="{75430B37-E40D-90BF-E97A-7222409DE5DE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539468" y="3397195"/>
                  <a:ext cx="99000" cy="7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1">
              <p14:nvContentPartPr>
                <p14:cNvPr id="115" name="Freihand 114">
                  <a:extLst>
                    <a:ext uri="{FF2B5EF4-FFF2-40B4-BE49-F238E27FC236}">
                      <a16:creationId xmlns:a16="http://schemas.microsoft.com/office/drawing/2014/main" id="{7E511B44-93D3-65C5-0F24-5621355FFE0B}"/>
                    </a:ext>
                  </a:extLst>
                </p14:cNvPr>
                <p14:cNvContentPartPr/>
                <p14:nvPr/>
              </p14:nvContentPartPr>
              <p14:xfrm>
                <a:off x="1048148" y="3058075"/>
                <a:ext cx="294840" cy="1081080"/>
              </p14:xfrm>
            </p:contentPart>
          </mc:Choice>
          <mc:Fallback>
            <p:pic>
              <p:nvPicPr>
                <p:cNvPr id="115" name="Freihand 114">
                  <a:extLst>
                    <a:ext uri="{FF2B5EF4-FFF2-40B4-BE49-F238E27FC236}">
                      <a16:creationId xmlns:a16="http://schemas.microsoft.com/office/drawing/2014/main" id="{7E511B44-93D3-65C5-0F24-5621355FFE0B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1030148" y="3040075"/>
                  <a:ext cx="330480" cy="1116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3">
              <p14:nvContentPartPr>
                <p14:cNvPr id="116" name="Freihand 115">
                  <a:extLst>
                    <a:ext uri="{FF2B5EF4-FFF2-40B4-BE49-F238E27FC236}">
                      <a16:creationId xmlns:a16="http://schemas.microsoft.com/office/drawing/2014/main" id="{AAD32CE4-AA5E-3D34-1ECC-6AC2F79EE7D7}"/>
                    </a:ext>
                  </a:extLst>
                </p14:cNvPr>
                <p14:cNvContentPartPr/>
                <p14:nvPr/>
              </p14:nvContentPartPr>
              <p14:xfrm>
                <a:off x="1332548" y="3291715"/>
                <a:ext cx="192600" cy="512280"/>
              </p14:xfrm>
            </p:contentPart>
          </mc:Choice>
          <mc:Fallback>
            <p:pic>
              <p:nvPicPr>
                <p:cNvPr id="116" name="Freihand 115">
                  <a:extLst>
                    <a:ext uri="{FF2B5EF4-FFF2-40B4-BE49-F238E27FC236}">
                      <a16:creationId xmlns:a16="http://schemas.microsoft.com/office/drawing/2014/main" id="{AAD32CE4-AA5E-3D34-1ECC-6AC2F79EE7D7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1314908" y="3274075"/>
                  <a:ext cx="228240" cy="54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5">
              <p14:nvContentPartPr>
                <p14:cNvPr id="118" name="Freihand 117">
                  <a:extLst>
                    <a:ext uri="{FF2B5EF4-FFF2-40B4-BE49-F238E27FC236}">
                      <a16:creationId xmlns:a16="http://schemas.microsoft.com/office/drawing/2014/main" id="{70B6B369-294D-BA53-BE1A-8CDF80D254EB}"/>
                    </a:ext>
                  </a:extLst>
                </p14:cNvPr>
                <p14:cNvContentPartPr/>
                <p14:nvPr/>
              </p14:nvContentPartPr>
              <p14:xfrm>
                <a:off x="1610108" y="3500155"/>
                <a:ext cx="231840" cy="41400"/>
              </p14:xfrm>
            </p:contentPart>
          </mc:Choice>
          <mc:Fallback>
            <p:pic>
              <p:nvPicPr>
                <p:cNvPr id="118" name="Freihand 117">
                  <a:extLst>
                    <a:ext uri="{FF2B5EF4-FFF2-40B4-BE49-F238E27FC236}">
                      <a16:creationId xmlns:a16="http://schemas.microsoft.com/office/drawing/2014/main" id="{70B6B369-294D-BA53-BE1A-8CDF80D254EB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1592468" y="3482155"/>
                  <a:ext cx="267480" cy="770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37">
            <p14:nvContentPartPr>
              <p14:cNvPr id="140" name="Freihand 139">
                <a:extLst>
                  <a:ext uri="{FF2B5EF4-FFF2-40B4-BE49-F238E27FC236}">
                    <a16:creationId xmlns:a16="http://schemas.microsoft.com/office/drawing/2014/main" id="{21B077F8-CC53-F47A-3F18-026F6B2DCB1B}"/>
                  </a:ext>
                </a:extLst>
              </p14:cNvPr>
              <p14:cNvContentPartPr/>
              <p14:nvPr/>
            </p14:nvContentPartPr>
            <p14:xfrm>
              <a:off x="10490948" y="5579155"/>
              <a:ext cx="65160" cy="29520"/>
            </p14:xfrm>
          </p:contentPart>
        </mc:Choice>
        <mc:Fallback>
          <p:pic>
            <p:nvPicPr>
              <p:cNvPr id="140" name="Freihand 139">
                <a:extLst>
                  <a:ext uri="{FF2B5EF4-FFF2-40B4-BE49-F238E27FC236}">
                    <a16:creationId xmlns:a16="http://schemas.microsoft.com/office/drawing/2014/main" id="{21B077F8-CC53-F47A-3F18-026F6B2DCB1B}"/>
                  </a:ext>
                </a:extLst>
              </p:cNvPr>
              <p:cNvPicPr/>
              <p:nvPr/>
            </p:nvPicPr>
            <p:blipFill>
              <a:blip r:embed="rId138"/>
              <a:stretch>
                <a:fillRect/>
              </a:stretch>
            </p:blipFill>
            <p:spPr>
              <a:xfrm>
                <a:off x="10472948" y="5561515"/>
                <a:ext cx="100800" cy="65160"/>
              </a:xfrm>
              <a:prstGeom prst="rect">
                <a:avLst/>
              </a:prstGeom>
            </p:spPr>
          </p:pic>
        </mc:Fallback>
      </mc:AlternateContent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4A9A0F69-4AC5-C425-995E-DF4C586FA1AC}"/>
              </a:ext>
            </a:extLst>
          </p:cNvPr>
          <p:cNvGrpSpPr/>
          <p:nvPr/>
        </p:nvGrpSpPr>
        <p:grpSpPr>
          <a:xfrm>
            <a:off x="9257948" y="4446595"/>
            <a:ext cx="267120" cy="512280"/>
            <a:chOff x="9257948" y="4446595"/>
            <a:chExt cx="267120" cy="5122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9">
              <p14:nvContentPartPr>
                <p14:cNvPr id="137" name="Freihand 136">
                  <a:extLst>
                    <a:ext uri="{FF2B5EF4-FFF2-40B4-BE49-F238E27FC236}">
                      <a16:creationId xmlns:a16="http://schemas.microsoft.com/office/drawing/2014/main" id="{E2BFAC84-CDCB-D0C1-C8F5-2D2E8A24BC0A}"/>
                    </a:ext>
                  </a:extLst>
                </p14:cNvPr>
                <p14:cNvContentPartPr/>
                <p14:nvPr/>
              </p14:nvContentPartPr>
              <p14:xfrm>
                <a:off x="9257948" y="4854835"/>
                <a:ext cx="33120" cy="104040"/>
              </p14:xfrm>
            </p:contentPart>
          </mc:Choice>
          <mc:Fallback>
            <p:pic>
              <p:nvPicPr>
                <p:cNvPr id="137" name="Freihand 136">
                  <a:extLst>
                    <a:ext uri="{FF2B5EF4-FFF2-40B4-BE49-F238E27FC236}">
                      <a16:creationId xmlns:a16="http://schemas.microsoft.com/office/drawing/2014/main" id="{E2BFAC84-CDCB-D0C1-C8F5-2D2E8A24BC0A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9239948" y="4836835"/>
                  <a:ext cx="68760" cy="13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1">
              <p14:nvContentPartPr>
                <p14:cNvPr id="141" name="Freihand 140">
                  <a:extLst>
                    <a:ext uri="{FF2B5EF4-FFF2-40B4-BE49-F238E27FC236}">
                      <a16:creationId xmlns:a16="http://schemas.microsoft.com/office/drawing/2014/main" id="{65C47C22-E58E-67F2-9ADA-6571B75A3F35}"/>
                    </a:ext>
                  </a:extLst>
                </p14:cNvPr>
                <p14:cNvContentPartPr/>
                <p14:nvPr/>
              </p14:nvContentPartPr>
              <p14:xfrm>
                <a:off x="9265508" y="4446595"/>
                <a:ext cx="132120" cy="191880"/>
              </p14:xfrm>
            </p:contentPart>
          </mc:Choice>
          <mc:Fallback>
            <p:pic>
              <p:nvPicPr>
                <p:cNvPr id="141" name="Freihand 140">
                  <a:extLst>
                    <a:ext uri="{FF2B5EF4-FFF2-40B4-BE49-F238E27FC236}">
                      <a16:creationId xmlns:a16="http://schemas.microsoft.com/office/drawing/2014/main" id="{65C47C22-E58E-67F2-9ADA-6571B75A3F35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9247868" y="4428955"/>
                  <a:ext cx="167760" cy="227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3">
              <p14:nvContentPartPr>
                <p14:cNvPr id="142" name="Freihand 141">
                  <a:extLst>
                    <a:ext uri="{FF2B5EF4-FFF2-40B4-BE49-F238E27FC236}">
                      <a16:creationId xmlns:a16="http://schemas.microsoft.com/office/drawing/2014/main" id="{14DCB4BA-8688-E345-7803-47C8840625DD}"/>
                    </a:ext>
                  </a:extLst>
                </p14:cNvPr>
                <p14:cNvContentPartPr/>
                <p14:nvPr/>
              </p14:nvContentPartPr>
              <p14:xfrm>
                <a:off x="9431468" y="4585915"/>
                <a:ext cx="93600" cy="182160"/>
              </p14:xfrm>
            </p:contentPart>
          </mc:Choice>
          <mc:Fallback>
            <p:pic>
              <p:nvPicPr>
                <p:cNvPr id="142" name="Freihand 141">
                  <a:extLst>
                    <a:ext uri="{FF2B5EF4-FFF2-40B4-BE49-F238E27FC236}">
                      <a16:creationId xmlns:a16="http://schemas.microsoft.com/office/drawing/2014/main" id="{14DCB4BA-8688-E345-7803-47C8840625DD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9413828" y="4567915"/>
                  <a:ext cx="129240" cy="217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1" name="Gruppieren 150">
            <a:extLst>
              <a:ext uri="{FF2B5EF4-FFF2-40B4-BE49-F238E27FC236}">
                <a16:creationId xmlns:a16="http://schemas.microsoft.com/office/drawing/2014/main" id="{AF81F272-2747-293C-F9A9-9B70314EB05E}"/>
              </a:ext>
            </a:extLst>
          </p:cNvPr>
          <p:cNvGrpSpPr/>
          <p:nvPr/>
        </p:nvGrpSpPr>
        <p:grpSpPr>
          <a:xfrm>
            <a:off x="10535228" y="4448395"/>
            <a:ext cx="266400" cy="426240"/>
            <a:chOff x="10535228" y="4448395"/>
            <a:chExt cx="266400" cy="426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5">
              <p14:nvContentPartPr>
                <p14:cNvPr id="138" name="Freihand 137">
                  <a:extLst>
                    <a:ext uri="{FF2B5EF4-FFF2-40B4-BE49-F238E27FC236}">
                      <a16:creationId xmlns:a16="http://schemas.microsoft.com/office/drawing/2014/main" id="{87460528-FA8D-6FD3-5F73-DB3264099803}"/>
                    </a:ext>
                  </a:extLst>
                </p14:cNvPr>
                <p14:cNvContentPartPr/>
                <p14:nvPr/>
              </p14:nvContentPartPr>
              <p14:xfrm>
                <a:off x="10535228" y="4825315"/>
                <a:ext cx="20880" cy="49320"/>
              </p14:xfrm>
            </p:contentPart>
          </mc:Choice>
          <mc:Fallback>
            <p:pic>
              <p:nvPicPr>
                <p:cNvPr id="138" name="Freihand 137">
                  <a:extLst>
                    <a:ext uri="{FF2B5EF4-FFF2-40B4-BE49-F238E27FC236}">
                      <a16:creationId xmlns:a16="http://schemas.microsoft.com/office/drawing/2014/main" id="{87460528-FA8D-6FD3-5F73-DB3264099803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10517228" y="4807315"/>
                  <a:ext cx="56520" cy="84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7">
              <p14:nvContentPartPr>
                <p14:cNvPr id="143" name="Freihand 142">
                  <a:extLst>
                    <a:ext uri="{FF2B5EF4-FFF2-40B4-BE49-F238E27FC236}">
                      <a16:creationId xmlns:a16="http://schemas.microsoft.com/office/drawing/2014/main" id="{40488409-DD9A-0723-6D4C-10A59B53E0A0}"/>
                    </a:ext>
                  </a:extLst>
                </p14:cNvPr>
                <p14:cNvContentPartPr/>
                <p14:nvPr/>
              </p14:nvContentPartPr>
              <p14:xfrm>
                <a:off x="10545308" y="4448395"/>
                <a:ext cx="143640" cy="186480"/>
              </p14:xfrm>
            </p:contentPart>
          </mc:Choice>
          <mc:Fallback>
            <p:pic>
              <p:nvPicPr>
                <p:cNvPr id="143" name="Freihand 142">
                  <a:extLst>
                    <a:ext uri="{FF2B5EF4-FFF2-40B4-BE49-F238E27FC236}">
                      <a16:creationId xmlns:a16="http://schemas.microsoft.com/office/drawing/2014/main" id="{40488409-DD9A-0723-6D4C-10A59B53E0A0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10527668" y="4430755"/>
                  <a:ext cx="179280" cy="22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9">
              <p14:nvContentPartPr>
                <p14:cNvPr id="144" name="Freihand 143">
                  <a:extLst>
                    <a:ext uri="{FF2B5EF4-FFF2-40B4-BE49-F238E27FC236}">
                      <a16:creationId xmlns:a16="http://schemas.microsoft.com/office/drawing/2014/main" id="{F2F000DA-C838-11EB-AF70-21DD1A0F5161}"/>
                    </a:ext>
                  </a:extLst>
                </p14:cNvPr>
                <p14:cNvContentPartPr/>
                <p14:nvPr/>
              </p14:nvContentPartPr>
              <p14:xfrm>
                <a:off x="10702628" y="4554955"/>
                <a:ext cx="99000" cy="163800"/>
              </p14:xfrm>
            </p:contentPart>
          </mc:Choice>
          <mc:Fallback>
            <p:pic>
              <p:nvPicPr>
                <p:cNvPr id="144" name="Freihand 143">
                  <a:extLst>
                    <a:ext uri="{FF2B5EF4-FFF2-40B4-BE49-F238E27FC236}">
                      <a16:creationId xmlns:a16="http://schemas.microsoft.com/office/drawing/2014/main" id="{F2F000DA-C838-11EB-AF70-21DD1A0F5161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10684988" y="4536955"/>
                  <a:ext cx="134640" cy="199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0" name="Gruppieren 149">
            <a:extLst>
              <a:ext uri="{FF2B5EF4-FFF2-40B4-BE49-F238E27FC236}">
                <a16:creationId xmlns:a16="http://schemas.microsoft.com/office/drawing/2014/main" id="{3432192D-DFD4-AA91-A4B6-A219A5A350E9}"/>
              </a:ext>
            </a:extLst>
          </p:cNvPr>
          <p:cNvGrpSpPr/>
          <p:nvPr/>
        </p:nvGrpSpPr>
        <p:grpSpPr>
          <a:xfrm>
            <a:off x="9326348" y="5409955"/>
            <a:ext cx="353160" cy="340200"/>
            <a:chOff x="9326348" y="5409955"/>
            <a:chExt cx="353160" cy="340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1">
              <p14:nvContentPartPr>
                <p14:cNvPr id="139" name="Freihand 138">
                  <a:extLst>
                    <a:ext uri="{FF2B5EF4-FFF2-40B4-BE49-F238E27FC236}">
                      <a16:creationId xmlns:a16="http://schemas.microsoft.com/office/drawing/2014/main" id="{BD2663CD-7592-7042-41E5-7410E53561FA}"/>
                    </a:ext>
                  </a:extLst>
                </p14:cNvPr>
                <p14:cNvContentPartPr/>
                <p14:nvPr/>
              </p14:nvContentPartPr>
              <p14:xfrm>
                <a:off x="9326348" y="5721355"/>
                <a:ext cx="134280" cy="28800"/>
              </p14:xfrm>
            </p:contentPart>
          </mc:Choice>
          <mc:Fallback>
            <p:pic>
              <p:nvPicPr>
                <p:cNvPr id="139" name="Freihand 138">
                  <a:extLst>
                    <a:ext uri="{FF2B5EF4-FFF2-40B4-BE49-F238E27FC236}">
                      <a16:creationId xmlns:a16="http://schemas.microsoft.com/office/drawing/2014/main" id="{BD2663CD-7592-7042-41E5-7410E53561FA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9308348" y="5703355"/>
                  <a:ext cx="169920" cy="6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3">
              <p14:nvContentPartPr>
                <p14:cNvPr id="145" name="Freihand 144">
                  <a:extLst>
                    <a:ext uri="{FF2B5EF4-FFF2-40B4-BE49-F238E27FC236}">
                      <a16:creationId xmlns:a16="http://schemas.microsoft.com/office/drawing/2014/main" id="{66AAC6B2-8C67-97BC-8347-417E16D47DA9}"/>
                    </a:ext>
                  </a:extLst>
                </p14:cNvPr>
                <p14:cNvContentPartPr/>
                <p14:nvPr/>
              </p14:nvContentPartPr>
              <p14:xfrm>
                <a:off x="9456308" y="5409955"/>
                <a:ext cx="110520" cy="129960"/>
              </p14:xfrm>
            </p:contentPart>
          </mc:Choice>
          <mc:Fallback>
            <p:pic>
              <p:nvPicPr>
                <p:cNvPr id="145" name="Freihand 144">
                  <a:extLst>
                    <a:ext uri="{FF2B5EF4-FFF2-40B4-BE49-F238E27FC236}">
                      <a16:creationId xmlns:a16="http://schemas.microsoft.com/office/drawing/2014/main" id="{66AAC6B2-8C67-97BC-8347-417E16D47DA9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9438308" y="5391955"/>
                  <a:ext cx="146160" cy="165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5">
              <p14:nvContentPartPr>
                <p14:cNvPr id="146" name="Freihand 145">
                  <a:extLst>
                    <a:ext uri="{FF2B5EF4-FFF2-40B4-BE49-F238E27FC236}">
                      <a16:creationId xmlns:a16="http://schemas.microsoft.com/office/drawing/2014/main" id="{2772C82C-C70F-61B8-67E6-59B0115C7FC8}"/>
                    </a:ext>
                  </a:extLst>
                </p14:cNvPr>
                <p14:cNvContentPartPr/>
                <p14:nvPr/>
              </p14:nvContentPartPr>
              <p14:xfrm>
                <a:off x="9607148" y="5460355"/>
                <a:ext cx="72360" cy="185760"/>
              </p14:xfrm>
            </p:contentPart>
          </mc:Choice>
          <mc:Fallback>
            <p:pic>
              <p:nvPicPr>
                <p:cNvPr id="146" name="Freihand 145">
                  <a:extLst>
                    <a:ext uri="{FF2B5EF4-FFF2-40B4-BE49-F238E27FC236}">
                      <a16:creationId xmlns:a16="http://schemas.microsoft.com/office/drawing/2014/main" id="{2772C82C-C70F-61B8-67E6-59B0115C7FC8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9589508" y="5442715"/>
                  <a:ext cx="108000" cy="221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FA5846CC-6E32-D891-3C16-35D072733435}"/>
              </a:ext>
            </a:extLst>
          </p:cNvPr>
          <p:cNvGrpSpPr/>
          <p:nvPr/>
        </p:nvGrpSpPr>
        <p:grpSpPr>
          <a:xfrm>
            <a:off x="10557908" y="5289355"/>
            <a:ext cx="328320" cy="281520"/>
            <a:chOff x="10557908" y="5289355"/>
            <a:chExt cx="328320" cy="281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57">
              <p14:nvContentPartPr>
                <p14:cNvPr id="147" name="Freihand 146">
                  <a:extLst>
                    <a:ext uri="{FF2B5EF4-FFF2-40B4-BE49-F238E27FC236}">
                      <a16:creationId xmlns:a16="http://schemas.microsoft.com/office/drawing/2014/main" id="{8F722101-F2CA-5087-016B-1101EEDE82B2}"/>
                    </a:ext>
                  </a:extLst>
                </p14:cNvPr>
                <p14:cNvContentPartPr/>
                <p14:nvPr/>
              </p14:nvContentPartPr>
              <p14:xfrm>
                <a:off x="10557908" y="5289355"/>
                <a:ext cx="127440" cy="158760"/>
              </p14:xfrm>
            </p:contentPart>
          </mc:Choice>
          <mc:Fallback>
            <p:pic>
              <p:nvPicPr>
                <p:cNvPr id="147" name="Freihand 146">
                  <a:extLst>
                    <a:ext uri="{FF2B5EF4-FFF2-40B4-BE49-F238E27FC236}">
                      <a16:creationId xmlns:a16="http://schemas.microsoft.com/office/drawing/2014/main" id="{8F722101-F2CA-5087-016B-1101EEDE82B2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10539908" y="5271355"/>
                  <a:ext cx="163080" cy="19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9">
              <p14:nvContentPartPr>
                <p14:cNvPr id="148" name="Freihand 147">
                  <a:extLst>
                    <a:ext uri="{FF2B5EF4-FFF2-40B4-BE49-F238E27FC236}">
                      <a16:creationId xmlns:a16="http://schemas.microsoft.com/office/drawing/2014/main" id="{E69AE234-1108-77CA-8AC4-1F871639F0C4}"/>
                    </a:ext>
                  </a:extLst>
                </p14:cNvPr>
                <p14:cNvContentPartPr/>
                <p14:nvPr/>
              </p14:nvContentPartPr>
              <p14:xfrm>
                <a:off x="10787228" y="5355955"/>
                <a:ext cx="99000" cy="214920"/>
              </p14:xfrm>
            </p:contentPart>
          </mc:Choice>
          <mc:Fallback>
            <p:pic>
              <p:nvPicPr>
                <p:cNvPr id="148" name="Freihand 147">
                  <a:extLst>
                    <a:ext uri="{FF2B5EF4-FFF2-40B4-BE49-F238E27FC236}">
                      <a16:creationId xmlns:a16="http://schemas.microsoft.com/office/drawing/2014/main" id="{E69AE234-1108-77CA-8AC4-1F871639F0C4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10769228" y="5337955"/>
                  <a:ext cx="134640" cy="2505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61">
            <p14:nvContentPartPr>
              <p14:cNvPr id="153" name="Freihand 152">
                <a:extLst>
                  <a:ext uri="{FF2B5EF4-FFF2-40B4-BE49-F238E27FC236}">
                    <a16:creationId xmlns:a16="http://schemas.microsoft.com/office/drawing/2014/main" id="{3231792D-E0C8-95E9-67B6-6833ABD448E1}"/>
                  </a:ext>
                </a:extLst>
              </p14:cNvPr>
              <p14:cNvContentPartPr/>
              <p14:nvPr/>
            </p14:nvContentPartPr>
            <p14:xfrm>
              <a:off x="5678468" y="2900755"/>
              <a:ext cx="230760" cy="583920"/>
            </p14:xfrm>
          </p:contentPart>
        </mc:Choice>
        <mc:Fallback>
          <p:pic>
            <p:nvPicPr>
              <p:cNvPr id="153" name="Freihand 152">
                <a:extLst>
                  <a:ext uri="{FF2B5EF4-FFF2-40B4-BE49-F238E27FC236}">
                    <a16:creationId xmlns:a16="http://schemas.microsoft.com/office/drawing/2014/main" id="{3231792D-E0C8-95E9-67B6-6833ABD448E1}"/>
                  </a:ext>
                </a:extLst>
              </p:cNvPr>
              <p:cNvPicPr/>
              <p:nvPr/>
            </p:nvPicPr>
            <p:blipFill>
              <a:blip r:embed="rId162"/>
              <a:stretch>
                <a:fillRect/>
              </a:stretch>
            </p:blipFill>
            <p:spPr>
              <a:xfrm>
                <a:off x="5660468" y="2882755"/>
                <a:ext cx="266400" cy="619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63">
            <p14:nvContentPartPr>
              <p14:cNvPr id="154" name="Freihand 153">
                <a:extLst>
                  <a:ext uri="{FF2B5EF4-FFF2-40B4-BE49-F238E27FC236}">
                    <a16:creationId xmlns:a16="http://schemas.microsoft.com/office/drawing/2014/main" id="{2AAF9A5E-9BBA-D1CB-63D0-2075AADA5E75}"/>
                  </a:ext>
                </a:extLst>
              </p14:cNvPr>
              <p14:cNvContentPartPr/>
              <p14:nvPr/>
            </p14:nvContentPartPr>
            <p14:xfrm>
              <a:off x="5952428" y="3335275"/>
              <a:ext cx="170640" cy="191880"/>
            </p14:xfrm>
          </p:contentPart>
        </mc:Choice>
        <mc:Fallback>
          <p:pic>
            <p:nvPicPr>
              <p:cNvPr id="154" name="Freihand 153">
                <a:extLst>
                  <a:ext uri="{FF2B5EF4-FFF2-40B4-BE49-F238E27FC236}">
                    <a16:creationId xmlns:a16="http://schemas.microsoft.com/office/drawing/2014/main" id="{2AAF9A5E-9BBA-D1CB-63D0-2075AADA5E75}"/>
                  </a:ext>
                </a:extLst>
              </p:cNvPr>
              <p:cNvPicPr/>
              <p:nvPr/>
            </p:nvPicPr>
            <p:blipFill>
              <a:blip r:embed="rId164"/>
              <a:stretch>
                <a:fillRect/>
              </a:stretch>
            </p:blipFill>
            <p:spPr>
              <a:xfrm>
                <a:off x="5934428" y="3317275"/>
                <a:ext cx="206280" cy="227520"/>
              </a:xfrm>
              <a:prstGeom prst="rect">
                <a:avLst/>
              </a:prstGeom>
            </p:spPr>
          </p:pic>
        </mc:Fallback>
      </mc:AlternateContent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946DEDBF-50F0-BB8C-D1AA-5CDDEE2E8BC0}"/>
              </a:ext>
            </a:extLst>
          </p:cNvPr>
          <p:cNvGrpSpPr/>
          <p:nvPr/>
        </p:nvGrpSpPr>
        <p:grpSpPr>
          <a:xfrm>
            <a:off x="6415388" y="2747035"/>
            <a:ext cx="1568160" cy="768960"/>
            <a:chOff x="6415388" y="2747035"/>
            <a:chExt cx="1568160" cy="7689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65">
              <p14:nvContentPartPr>
                <p14:cNvPr id="155" name="Freihand 154">
                  <a:extLst>
                    <a:ext uri="{FF2B5EF4-FFF2-40B4-BE49-F238E27FC236}">
                      <a16:creationId xmlns:a16="http://schemas.microsoft.com/office/drawing/2014/main" id="{0CACCA80-4798-BBE4-4460-62CBC70B168F}"/>
                    </a:ext>
                  </a:extLst>
                </p14:cNvPr>
                <p14:cNvContentPartPr/>
                <p14:nvPr/>
              </p14:nvContentPartPr>
              <p14:xfrm>
                <a:off x="6415388" y="3180835"/>
                <a:ext cx="372240" cy="88200"/>
              </p14:xfrm>
            </p:contentPart>
          </mc:Choice>
          <mc:Fallback>
            <p:pic>
              <p:nvPicPr>
                <p:cNvPr id="155" name="Freihand 154">
                  <a:extLst>
                    <a:ext uri="{FF2B5EF4-FFF2-40B4-BE49-F238E27FC236}">
                      <a16:creationId xmlns:a16="http://schemas.microsoft.com/office/drawing/2014/main" id="{0CACCA80-4798-BBE4-4460-62CBC70B168F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6397748" y="3163195"/>
                  <a:ext cx="407880" cy="12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7">
              <p14:nvContentPartPr>
                <p14:cNvPr id="156" name="Freihand 155">
                  <a:extLst>
                    <a:ext uri="{FF2B5EF4-FFF2-40B4-BE49-F238E27FC236}">
                      <a16:creationId xmlns:a16="http://schemas.microsoft.com/office/drawing/2014/main" id="{98766B56-ED73-78C3-C6C3-B82D8B04CDFC}"/>
                    </a:ext>
                  </a:extLst>
                </p14:cNvPr>
                <p14:cNvContentPartPr/>
                <p14:nvPr/>
              </p14:nvContentPartPr>
              <p14:xfrm>
                <a:off x="6638588" y="3023875"/>
                <a:ext cx="61560" cy="439560"/>
              </p14:xfrm>
            </p:contentPart>
          </mc:Choice>
          <mc:Fallback>
            <p:pic>
              <p:nvPicPr>
                <p:cNvPr id="156" name="Freihand 155">
                  <a:extLst>
                    <a:ext uri="{FF2B5EF4-FFF2-40B4-BE49-F238E27FC236}">
                      <a16:creationId xmlns:a16="http://schemas.microsoft.com/office/drawing/2014/main" id="{98766B56-ED73-78C3-C6C3-B82D8B04CDFC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6620588" y="3006235"/>
                  <a:ext cx="97200" cy="475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9">
              <p14:nvContentPartPr>
                <p14:cNvPr id="159" name="Freihand 158">
                  <a:extLst>
                    <a:ext uri="{FF2B5EF4-FFF2-40B4-BE49-F238E27FC236}">
                      <a16:creationId xmlns:a16="http://schemas.microsoft.com/office/drawing/2014/main" id="{A1BCC3DD-5C35-F59B-7EB7-3CC301D2AF08}"/>
                    </a:ext>
                  </a:extLst>
                </p14:cNvPr>
                <p14:cNvContentPartPr/>
                <p14:nvPr/>
              </p14:nvContentPartPr>
              <p14:xfrm>
                <a:off x="6967628" y="2747035"/>
                <a:ext cx="75600" cy="708120"/>
              </p14:xfrm>
            </p:contentPart>
          </mc:Choice>
          <mc:Fallback>
            <p:pic>
              <p:nvPicPr>
                <p:cNvPr id="159" name="Freihand 158">
                  <a:extLst>
                    <a:ext uri="{FF2B5EF4-FFF2-40B4-BE49-F238E27FC236}">
                      <a16:creationId xmlns:a16="http://schemas.microsoft.com/office/drawing/2014/main" id="{A1BCC3DD-5C35-F59B-7EB7-3CC301D2AF08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6949988" y="2729395"/>
                  <a:ext cx="111240" cy="74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1">
              <p14:nvContentPartPr>
                <p14:cNvPr id="160" name="Freihand 159">
                  <a:extLst>
                    <a:ext uri="{FF2B5EF4-FFF2-40B4-BE49-F238E27FC236}">
                      <a16:creationId xmlns:a16="http://schemas.microsoft.com/office/drawing/2014/main" id="{078F48B4-BF12-2443-10A3-7519CB6A49C4}"/>
                    </a:ext>
                  </a:extLst>
                </p14:cNvPr>
                <p14:cNvContentPartPr/>
                <p14:nvPr/>
              </p14:nvContentPartPr>
              <p14:xfrm>
                <a:off x="6849548" y="3045115"/>
                <a:ext cx="345240" cy="34200"/>
              </p14:xfrm>
            </p:contentPart>
          </mc:Choice>
          <mc:Fallback>
            <p:pic>
              <p:nvPicPr>
                <p:cNvPr id="160" name="Freihand 159">
                  <a:extLst>
                    <a:ext uri="{FF2B5EF4-FFF2-40B4-BE49-F238E27FC236}">
                      <a16:creationId xmlns:a16="http://schemas.microsoft.com/office/drawing/2014/main" id="{078F48B4-BF12-2443-10A3-7519CB6A49C4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6831908" y="3027475"/>
                  <a:ext cx="3808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3">
              <p14:nvContentPartPr>
                <p14:cNvPr id="161" name="Freihand 160">
                  <a:extLst>
                    <a:ext uri="{FF2B5EF4-FFF2-40B4-BE49-F238E27FC236}">
                      <a16:creationId xmlns:a16="http://schemas.microsoft.com/office/drawing/2014/main" id="{E81FDF88-B872-9637-B04E-08F0B6AA9C9B}"/>
                    </a:ext>
                  </a:extLst>
                </p14:cNvPr>
                <p14:cNvContentPartPr/>
                <p14:nvPr/>
              </p14:nvContentPartPr>
              <p14:xfrm>
                <a:off x="7269668" y="3180835"/>
                <a:ext cx="37080" cy="83160"/>
              </p14:xfrm>
            </p:contentPart>
          </mc:Choice>
          <mc:Fallback>
            <p:pic>
              <p:nvPicPr>
                <p:cNvPr id="161" name="Freihand 160">
                  <a:extLst>
                    <a:ext uri="{FF2B5EF4-FFF2-40B4-BE49-F238E27FC236}">
                      <a16:creationId xmlns:a16="http://schemas.microsoft.com/office/drawing/2014/main" id="{E81FDF88-B872-9637-B04E-08F0B6AA9C9B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7252028" y="3163195"/>
                  <a:ext cx="72720" cy="118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5">
              <p14:nvContentPartPr>
                <p14:cNvPr id="163" name="Freihand 162">
                  <a:extLst>
                    <a:ext uri="{FF2B5EF4-FFF2-40B4-BE49-F238E27FC236}">
                      <a16:creationId xmlns:a16="http://schemas.microsoft.com/office/drawing/2014/main" id="{EB59076B-7FB5-F1F3-1709-CBA0F5A93952}"/>
                    </a:ext>
                  </a:extLst>
                </p14:cNvPr>
                <p14:cNvContentPartPr/>
                <p14:nvPr/>
              </p14:nvContentPartPr>
              <p14:xfrm>
                <a:off x="7452908" y="2905795"/>
                <a:ext cx="250200" cy="491400"/>
              </p14:xfrm>
            </p:contentPart>
          </mc:Choice>
          <mc:Fallback>
            <p:pic>
              <p:nvPicPr>
                <p:cNvPr id="163" name="Freihand 162">
                  <a:extLst>
                    <a:ext uri="{FF2B5EF4-FFF2-40B4-BE49-F238E27FC236}">
                      <a16:creationId xmlns:a16="http://schemas.microsoft.com/office/drawing/2014/main" id="{EB59076B-7FB5-F1F3-1709-CBA0F5A93952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7435268" y="2887795"/>
                  <a:ext cx="285840" cy="52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7">
              <p14:nvContentPartPr>
                <p14:cNvPr id="164" name="Freihand 163">
                  <a:extLst>
                    <a:ext uri="{FF2B5EF4-FFF2-40B4-BE49-F238E27FC236}">
                      <a16:creationId xmlns:a16="http://schemas.microsoft.com/office/drawing/2014/main" id="{1E3FA299-E02A-531E-E0B4-7FB0F27ADE06}"/>
                    </a:ext>
                  </a:extLst>
                </p14:cNvPr>
                <p14:cNvContentPartPr/>
                <p14:nvPr/>
              </p14:nvContentPartPr>
              <p14:xfrm>
                <a:off x="7732988" y="3164995"/>
                <a:ext cx="250560" cy="351000"/>
              </p14:xfrm>
            </p:contentPart>
          </mc:Choice>
          <mc:Fallback>
            <p:pic>
              <p:nvPicPr>
                <p:cNvPr id="164" name="Freihand 163">
                  <a:extLst>
                    <a:ext uri="{FF2B5EF4-FFF2-40B4-BE49-F238E27FC236}">
                      <a16:creationId xmlns:a16="http://schemas.microsoft.com/office/drawing/2014/main" id="{1E3FA299-E02A-531E-E0B4-7FB0F27ADE06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7715348" y="3147355"/>
                  <a:ext cx="286200" cy="3866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9" name="Gruppieren 168">
            <a:extLst>
              <a:ext uri="{FF2B5EF4-FFF2-40B4-BE49-F238E27FC236}">
                <a16:creationId xmlns:a16="http://schemas.microsoft.com/office/drawing/2014/main" id="{5655EE8F-3F9A-459C-3341-2018C5B9C19E}"/>
              </a:ext>
            </a:extLst>
          </p:cNvPr>
          <p:cNvGrpSpPr/>
          <p:nvPr/>
        </p:nvGrpSpPr>
        <p:grpSpPr>
          <a:xfrm>
            <a:off x="3399308" y="2778355"/>
            <a:ext cx="2176200" cy="1229760"/>
            <a:chOff x="3399308" y="2778355"/>
            <a:chExt cx="2176200" cy="1229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9">
              <p14:nvContentPartPr>
                <p14:cNvPr id="125" name="Freihand 124">
                  <a:extLst>
                    <a:ext uri="{FF2B5EF4-FFF2-40B4-BE49-F238E27FC236}">
                      <a16:creationId xmlns:a16="http://schemas.microsoft.com/office/drawing/2014/main" id="{1E5FB767-FD1D-96FE-D02A-28C34D5D9AC0}"/>
                    </a:ext>
                  </a:extLst>
                </p14:cNvPr>
                <p14:cNvContentPartPr/>
                <p14:nvPr/>
              </p14:nvContentPartPr>
              <p14:xfrm>
                <a:off x="3399308" y="2865115"/>
                <a:ext cx="353520" cy="1143000"/>
              </p14:xfrm>
            </p:contentPart>
          </mc:Choice>
          <mc:Fallback>
            <p:pic>
              <p:nvPicPr>
                <p:cNvPr id="125" name="Freihand 124">
                  <a:extLst>
                    <a:ext uri="{FF2B5EF4-FFF2-40B4-BE49-F238E27FC236}">
                      <a16:creationId xmlns:a16="http://schemas.microsoft.com/office/drawing/2014/main" id="{1E5FB767-FD1D-96FE-D02A-28C34D5D9AC0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3381308" y="2847475"/>
                  <a:ext cx="389160" cy="117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1">
              <p14:nvContentPartPr>
                <p14:cNvPr id="126" name="Freihand 125">
                  <a:extLst>
                    <a:ext uri="{FF2B5EF4-FFF2-40B4-BE49-F238E27FC236}">
                      <a16:creationId xmlns:a16="http://schemas.microsoft.com/office/drawing/2014/main" id="{AE49E649-BA8B-CF77-3939-90A3554FA632}"/>
                    </a:ext>
                  </a:extLst>
                </p14:cNvPr>
                <p14:cNvContentPartPr/>
                <p14:nvPr/>
              </p14:nvContentPartPr>
              <p14:xfrm>
                <a:off x="3778388" y="2915875"/>
                <a:ext cx="226800" cy="839160"/>
              </p14:xfrm>
            </p:contentPart>
          </mc:Choice>
          <mc:Fallback>
            <p:pic>
              <p:nvPicPr>
                <p:cNvPr id="126" name="Freihand 125">
                  <a:extLst>
                    <a:ext uri="{FF2B5EF4-FFF2-40B4-BE49-F238E27FC236}">
                      <a16:creationId xmlns:a16="http://schemas.microsoft.com/office/drawing/2014/main" id="{AE49E649-BA8B-CF77-3939-90A3554FA632}"/>
                    </a:ext>
                  </a:extLst>
                </p:cNvPr>
                <p:cNvPicPr/>
                <p:nvPr/>
              </p:nvPicPr>
              <p:blipFill>
                <a:blip r:embed="rId182"/>
                <a:stretch>
                  <a:fillRect/>
                </a:stretch>
              </p:blipFill>
              <p:spPr>
                <a:xfrm>
                  <a:off x="3760748" y="2897875"/>
                  <a:ext cx="262440" cy="87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3">
              <p14:nvContentPartPr>
                <p14:cNvPr id="127" name="Freihand 126">
                  <a:extLst>
                    <a:ext uri="{FF2B5EF4-FFF2-40B4-BE49-F238E27FC236}">
                      <a16:creationId xmlns:a16="http://schemas.microsoft.com/office/drawing/2014/main" id="{287D3C0E-EA51-74E4-5961-3F27B27BE12D}"/>
                    </a:ext>
                  </a:extLst>
                </p14:cNvPr>
                <p14:cNvContentPartPr/>
                <p14:nvPr/>
              </p14:nvContentPartPr>
              <p14:xfrm>
                <a:off x="4001588" y="3080755"/>
                <a:ext cx="216000" cy="409680"/>
              </p14:xfrm>
            </p:contentPart>
          </mc:Choice>
          <mc:Fallback>
            <p:pic>
              <p:nvPicPr>
                <p:cNvPr id="127" name="Freihand 126">
                  <a:extLst>
                    <a:ext uri="{FF2B5EF4-FFF2-40B4-BE49-F238E27FC236}">
                      <a16:creationId xmlns:a16="http://schemas.microsoft.com/office/drawing/2014/main" id="{287D3C0E-EA51-74E4-5961-3F27B27BE12D}"/>
                    </a:ext>
                  </a:extLst>
                </p:cNvPr>
                <p:cNvPicPr/>
                <p:nvPr/>
              </p:nvPicPr>
              <p:blipFill>
                <a:blip r:embed="rId184"/>
                <a:stretch>
                  <a:fillRect/>
                </a:stretch>
              </p:blipFill>
              <p:spPr>
                <a:xfrm>
                  <a:off x="3983588" y="3062755"/>
                  <a:ext cx="251640" cy="44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5">
              <p14:nvContentPartPr>
                <p14:cNvPr id="128" name="Freihand 127">
                  <a:extLst>
                    <a:ext uri="{FF2B5EF4-FFF2-40B4-BE49-F238E27FC236}">
                      <a16:creationId xmlns:a16="http://schemas.microsoft.com/office/drawing/2014/main" id="{BE9525D2-87B1-3EE4-FDDE-A6B01798635F}"/>
                    </a:ext>
                  </a:extLst>
                </p14:cNvPr>
                <p14:cNvContentPartPr/>
                <p14:nvPr/>
              </p14:nvContentPartPr>
              <p14:xfrm>
                <a:off x="4374188" y="3334195"/>
                <a:ext cx="139680" cy="45000"/>
              </p14:xfrm>
            </p:contentPart>
          </mc:Choice>
          <mc:Fallback>
            <p:pic>
              <p:nvPicPr>
                <p:cNvPr id="128" name="Freihand 127">
                  <a:extLst>
                    <a:ext uri="{FF2B5EF4-FFF2-40B4-BE49-F238E27FC236}">
                      <a16:creationId xmlns:a16="http://schemas.microsoft.com/office/drawing/2014/main" id="{BE9525D2-87B1-3EE4-FDDE-A6B01798635F}"/>
                    </a:ext>
                  </a:extLst>
                </p:cNvPr>
                <p:cNvPicPr/>
                <p:nvPr/>
              </p:nvPicPr>
              <p:blipFill>
                <a:blip r:embed="rId186"/>
                <a:stretch>
                  <a:fillRect/>
                </a:stretch>
              </p:blipFill>
              <p:spPr>
                <a:xfrm>
                  <a:off x="4356188" y="3316195"/>
                  <a:ext cx="17532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7">
              <p14:nvContentPartPr>
                <p14:cNvPr id="129" name="Freihand 128">
                  <a:extLst>
                    <a:ext uri="{FF2B5EF4-FFF2-40B4-BE49-F238E27FC236}">
                      <a16:creationId xmlns:a16="http://schemas.microsoft.com/office/drawing/2014/main" id="{D75E5856-DAC8-E92B-7E6B-241DA1DCDFCA}"/>
                    </a:ext>
                  </a:extLst>
                </p14:cNvPr>
                <p14:cNvContentPartPr/>
                <p14:nvPr/>
              </p14:nvContentPartPr>
              <p14:xfrm>
                <a:off x="4691708" y="3047995"/>
                <a:ext cx="64800" cy="506160"/>
              </p14:xfrm>
            </p:contentPart>
          </mc:Choice>
          <mc:Fallback>
            <p:pic>
              <p:nvPicPr>
                <p:cNvPr id="129" name="Freihand 128">
                  <a:extLst>
                    <a:ext uri="{FF2B5EF4-FFF2-40B4-BE49-F238E27FC236}">
                      <a16:creationId xmlns:a16="http://schemas.microsoft.com/office/drawing/2014/main" id="{D75E5856-DAC8-E92B-7E6B-241DA1DCDFCA}"/>
                    </a:ext>
                  </a:extLst>
                </p:cNvPr>
                <p:cNvPicPr/>
                <p:nvPr/>
              </p:nvPicPr>
              <p:blipFill>
                <a:blip r:embed="rId188"/>
                <a:stretch>
                  <a:fillRect/>
                </a:stretch>
              </p:blipFill>
              <p:spPr>
                <a:xfrm>
                  <a:off x="4673708" y="3029995"/>
                  <a:ext cx="100440" cy="54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9">
              <p14:nvContentPartPr>
                <p14:cNvPr id="130" name="Freihand 129">
                  <a:extLst>
                    <a:ext uri="{FF2B5EF4-FFF2-40B4-BE49-F238E27FC236}">
                      <a16:creationId xmlns:a16="http://schemas.microsoft.com/office/drawing/2014/main" id="{1DC2D308-23B7-86AB-DAC9-ACF4F891D86A}"/>
                    </a:ext>
                  </a:extLst>
                </p14:cNvPr>
                <p14:cNvContentPartPr/>
                <p14:nvPr/>
              </p14:nvContentPartPr>
              <p14:xfrm>
                <a:off x="4630508" y="3140515"/>
                <a:ext cx="342000" cy="61920"/>
              </p14:xfrm>
            </p:contentPart>
          </mc:Choice>
          <mc:Fallback>
            <p:pic>
              <p:nvPicPr>
                <p:cNvPr id="130" name="Freihand 129">
                  <a:extLst>
                    <a:ext uri="{FF2B5EF4-FFF2-40B4-BE49-F238E27FC236}">
                      <a16:creationId xmlns:a16="http://schemas.microsoft.com/office/drawing/2014/main" id="{1DC2D308-23B7-86AB-DAC9-ACF4F891D86A}"/>
                    </a:ext>
                  </a:extLst>
                </p:cNvPr>
                <p:cNvPicPr/>
                <p:nvPr/>
              </p:nvPicPr>
              <p:blipFill>
                <a:blip r:embed="rId190"/>
                <a:stretch>
                  <a:fillRect/>
                </a:stretch>
              </p:blipFill>
              <p:spPr>
                <a:xfrm>
                  <a:off x="4612508" y="3122515"/>
                  <a:ext cx="377640" cy="9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1">
              <p14:nvContentPartPr>
                <p14:cNvPr id="131" name="Freihand 130">
                  <a:extLst>
                    <a:ext uri="{FF2B5EF4-FFF2-40B4-BE49-F238E27FC236}">
                      <a16:creationId xmlns:a16="http://schemas.microsoft.com/office/drawing/2014/main" id="{699C3CF8-55F0-846E-CB84-44A15547995D}"/>
                    </a:ext>
                  </a:extLst>
                </p14:cNvPr>
                <p14:cNvContentPartPr/>
                <p14:nvPr/>
              </p14:nvContentPartPr>
              <p14:xfrm>
                <a:off x="5039468" y="2778355"/>
                <a:ext cx="210240" cy="880920"/>
              </p14:xfrm>
            </p:contentPart>
          </mc:Choice>
          <mc:Fallback>
            <p:pic>
              <p:nvPicPr>
                <p:cNvPr id="131" name="Freihand 130">
                  <a:extLst>
                    <a:ext uri="{FF2B5EF4-FFF2-40B4-BE49-F238E27FC236}">
                      <a16:creationId xmlns:a16="http://schemas.microsoft.com/office/drawing/2014/main" id="{699C3CF8-55F0-846E-CB84-44A15547995D}"/>
                    </a:ext>
                  </a:extLst>
                </p:cNvPr>
                <p:cNvPicPr/>
                <p:nvPr/>
              </p:nvPicPr>
              <p:blipFill>
                <a:blip r:embed="rId192"/>
                <a:stretch>
                  <a:fillRect/>
                </a:stretch>
              </p:blipFill>
              <p:spPr>
                <a:xfrm>
                  <a:off x="5021468" y="2760355"/>
                  <a:ext cx="245880" cy="916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3">
              <p14:nvContentPartPr>
                <p14:cNvPr id="134" name="Freihand 133">
                  <a:extLst>
                    <a:ext uri="{FF2B5EF4-FFF2-40B4-BE49-F238E27FC236}">
                      <a16:creationId xmlns:a16="http://schemas.microsoft.com/office/drawing/2014/main" id="{6E537F0E-D1F7-D427-F983-0BDD7F44BE71}"/>
                    </a:ext>
                  </a:extLst>
                </p14:cNvPr>
                <p14:cNvContentPartPr/>
                <p14:nvPr/>
              </p14:nvContentPartPr>
              <p14:xfrm>
                <a:off x="5440148" y="3177235"/>
                <a:ext cx="53640" cy="77400"/>
              </p14:xfrm>
            </p:contentPart>
          </mc:Choice>
          <mc:Fallback>
            <p:pic>
              <p:nvPicPr>
                <p:cNvPr id="134" name="Freihand 133">
                  <a:extLst>
                    <a:ext uri="{FF2B5EF4-FFF2-40B4-BE49-F238E27FC236}">
                      <a16:creationId xmlns:a16="http://schemas.microsoft.com/office/drawing/2014/main" id="{6E537F0E-D1F7-D427-F983-0BDD7F44BE71}"/>
                    </a:ext>
                  </a:extLst>
                </p:cNvPr>
                <p:cNvPicPr/>
                <p:nvPr/>
              </p:nvPicPr>
              <p:blipFill>
                <a:blip r:embed="rId194"/>
                <a:stretch>
                  <a:fillRect/>
                </a:stretch>
              </p:blipFill>
              <p:spPr>
                <a:xfrm>
                  <a:off x="5422508" y="3159595"/>
                  <a:ext cx="89280" cy="113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5">
              <p14:nvContentPartPr>
                <p14:cNvPr id="135" name="Freihand 134">
                  <a:extLst>
                    <a:ext uri="{FF2B5EF4-FFF2-40B4-BE49-F238E27FC236}">
                      <a16:creationId xmlns:a16="http://schemas.microsoft.com/office/drawing/2014/main" id="{9D911682-CA23-C434-F2ED-28CD7DE3F6A3}"/>
                    </a:ext>
                  </a:extLst>
                </p14:cNvPr>
                <p14:cNvContentPartPr/>
                <p14:nvPr/>
              </p14:nvContentPartPr>
              <p14:xfrm>
                <a:off x="5467868" y="3199195"/>
                <a:ext cx="107640" cy="91440"/>
              </p14:xfrm>
            </p:contentPart>
          </mc:Choice>
          <mc:Fallback>
            <p:pic>
              <p:nvPicPr>
                <p:cNvPr id="135" name="Freihand 134">
                  <a:extLst>
                    <a:ext uri="{FF2B5EF4-FFF2-40B4-BE49-F238E27FC236}">
                      <a16:creationId xmlns:a16="http://schemas.microsoft.com/office/drawing/2014/main" id="{9D911682-CA23-C434-F2ED-28CD7DE3F6A3}"/>
                    </a:ext>
                  </a:extLst>
                </p:cNvPr>
                <p:cNvPicPr/>
                <p:nvPr/>
              </p:nvPicPr>
              <p:blipFill>
                <a:blip r:embed="rId196"/>
                <a:stretch>
                  <a:fillRect/>
                </a:stretch>
              </p:blipFill>
              <p:spPr>
                <a:xfrm>
                  <a:off x="5449868" y="3181195"/>
                  <a:ext cx="143280" cy="12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7">
              <p14:nvContentPartPr>
                <p14:cNvPr id="166" name="Freihand 165">
                  <a:extLst>
                    <a:ext uri="{FF2B5EF4-FFF2-40B4-BE49-F238E27FC236}">
                      <a16:creationId xmlns:a16="http://schemas.microsoft.com/office/drawing/2014/main" id="{821730ED-9CD5-9293-C882-493D766F4C0A}"/>
                    </a:ext>
                  </a:extLst>
                </p14:cNvPr>
                <p14:cNvContentPartPr/>
                <p14:nvPr/>
              </p14:nvContentPartPr>
              <p14:xfrm>
                <a:off x="4742108" y="3476395"/>
                <a:ext cx="148680" cy="315360"/>
              </p14:xfrm>
            </p:contentPart>
          </mc:Choice>
          <mc:Fallback>
            <p:pic>
              <p:nvPicPr>
                <p:cNvPr id="166" name="Freihand 165">
                  <a:extLst>
                    <a:ext uri="{FF2B5EF4-FFF2-40B4-BE49-F238E27FC236}">
                      <a16:creationId xmlns:a16="http://schemas.microsoft.com/office/drawing/2014/main" id="{821730ED-9CD5-9293-C882-493D766F4C0A}"/>
                    </a:ext>
                  </a:extLst>
                </p:cNvPr>
                <p:cNvPicPr/>
                <p:nvPr/>
              </p:nvPicPr>
              <p:blipFill>
                <a:blip r:embed="rId198"/>
                <a:stretch>
                  <a:fillRect/>
                </a:stretch>
              </p:blipFill>
              <p:spPr>
                <a:xfrm>
                  <a:off x="4724108" y="3458395"/>
                  <a:ext cx="184320" cy="3510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99">
            <p14:nvContentPartPr>
              <p14:cNvPr id="167" name="Freihand 166">
                <a:extLst>
                  <a:ext uri="{FF2B5EF4-FFF2-40B4-BE49-F238E27FC236}">
                    <a16:creationId xmlns:a16="http://schemas.microsoft.com/office/drawing/2014/main" id="{9D54ED4C-0153-47D5-7D9C-DFBF6EC7786E}"/>
                  </a:ext>
                </a:extLst>
              </p14:cNvPr>
              <p14:cNvContentPartPr/>
              <p14:nvPr/>
            </p14:nvContentPartPr>
            <p14:xfrm>
              <a:off x="2284028" y="3476395"/>
              <a:ext cx="195480" cy="214200"/>
            </p14:xfrm>
          </p:contentPart>
        </mc:Choice>
        <mc:Fallback>
          <p:pic>
            <p:nvPicPr>
              <p:cNvPr id="167" name="Freihand 166">
                <a:extLst>
                  <a:ext uri="{FF2B5EF4-FFF2-40B4-BE49-F238E27FC236}">
                    <a16:creationId xmlns:a16="http://schemas.microsoft.com/office/drawing/2014/main" id="{9D54ED4C-0153-47D5-7D9C-DFBF6EC7786E}"/>
                  </a:ext>
                </a:extLst>
              </p:cNvPr>
              <p:cNvPicPr/>
              <p:nvPr/>
            </p:nvPicPr>
            <p:blipFill>
              <a:blip r:embed="rId200"/>
              <a:stretch>
                <a:fillRect/>
              </a:stretch>
            </p:blipFill>
            <p:spPr>
              <a:xfrm>
                <a:off x="2266388" y="3458395"/>
                <a:ext cx="231120" cy="249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201">
            <p14:nvContentPartPr>
              <p14:cNvPr id="170" name="Freihand 169">
                <a:extLst>
                  <a:ext uri="{FF2B5EF4-FFF2-40B4-BE49-F238E27FC236}">
                    <a16:creationId xmlns:a16="http://schemas.microsoft.com/office/drawing/2014/main" id="{445AA5A4-9DD4-DA4D-DF78-F900D8D73836}"/>
                  </a:ext>
                </a:extLst>
              </p14:cNvPr>
              <p14:cNvContentPartPr/>
              <p14:nvPr/>
            </p14:nvContentPartPr>
            <p14:xfrm>
              <a:off x="8024948" y="2574955"/>
              <a:ext cx="186480" cy="1090440"/>
            </p14:xfrm>
          </p:contentPart>
        </mc:Choice>
        <mc:Fallback>
          <p:pic>
            <p:nvPicPr>
              <p:cNvPr id="170" name="Freihand 169">
                <a:extLst>
                  <a:ext uri="{FF2B5EF4-FFF2-40B4-BE49-F238E27FC236}">
                    <a16:creationId xmlns:a16="http://schemas.microsoft.com/office/drawing/2014/main" id="{445AA5A4-9DD4-DA4D-DF78-F900D8D73836}"/>
                  </a:ext>
                </a:extLst>
              </p:cNvPr>
              <p:cNvPicPr/>
              <p:nvPr/>
            </p:nvPicPr>
            <p:blipFill>
              <a:blip r:embed="rId202"/>
              <a:stretch>
                <a:fillRect/>
              </a:stretch>
            </p:blipFill>
            <p:spPr>
              <a:xfrm>
                <a:off x="8006948" y="2557315"/>
                <a:ext cx="222120" cy="1126080"/>
              </a:xfrm>
              <a:prstGeom prst="rect">
                <a:avLst/>
              </a:prstGeom>
            </p:spPr>
          </p:pic>
        </mc:Fallback>
      </mc:AlternateContent>
      <p:grpSp>
        <p:nvGrpSpPr>
          <p:cNvPr id="175" name="Gruppieren 174">
            <a:extLst>
              <a:ext uri="{FF2B5EF4-FFF2-40B4-BE49-F238E27FC236}">
                <a16:creationId xmlns:a16="http://schemas.microsoft.com/office/drawing/2014/main" id="{736E3106-E184-A791-EE1B-C369FE216DBF}"/>
              </a:ext>
            </a:extLst>
          </p:cNvPr>
          <p:cNvGrpSpPr/>
          <p:nvPr/>
        </p:nvGrpSpPr>
        <p:grpSpPr>
          <a:xfrm>
            <a:off x="8613908" y="2588275"/>
            <a:ext cx="788760" cy="693000"/>
            <a:chOff x="8613908" y="2588275"/>
            <a:chExt cx="788760" cy="6930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03">
              <p14:nvContentPartPr>
                <p14:cNvPr id="171" name="Freihand 170">
                  <a:extLst>
                    <a:ext uri="{FF2B5EF4-FFF2-40B4-BE49-F238E27FC236}">
                      <a16:creationId xmlns:a16="http://schemas.microsoft.com/office/drawing/2014/main" id="{74BA7551-3ED8-7FD6-AFDA-CAB446B90635}"/>
                    </a:ext>
                  </a:extLst>
                </p14:cNvPr>
                <p14:cNvContentPartPr/>
                <p14:nvPr/>
              </p14:nvContentPartPr>
              <p14:xfrm>
                <a:off x="8613908" y="3018475"/>
                <a:ext cx="202680" cy="29520"/>
              </p14:xfrm>
            </p:contentPart>
          </mc:Choice>
          <mc:Fallback>
            <p:pic>
              <p:nvPicPr>
                <p:cNvPr id="171" name="Freihand 170">
                  <a:extLst>
                    <a:ext uri="{FF2B5EF4-FFF2-40B4-BE49-F238E27FC236}">
                      <a16:creationId xmlns:a16="http://schemas.microsoft.com/office/drawing/2014/main" id="{74BA7551-3ED8-7FD6-AFDA-CAB446B90635}"/>
                    </a:ext>
                  </a:extLst>
                </p:cNvPr>
                <p:cNvPicPr/>
                <p:nvPr/>
              </p:nvPicPr>
              <p:blipFill>
                <a:blip r:embed="rId204"/>
                <a:stretch>
                  <a:fillRect/>
                </a:stretch>
              </p:blipFill>
              <p:spPr>
                <a:xfrm>
                  <a:off x="8596268" y="3000835"/>
                  <a:ext cx="238320" cy="6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5">
              <p14:nvContentPartPr>
                <p14:cNvPr id="172" name="Freihand 171">
                  <a:extLst>
                    <a:ext uri="{FF2B5EF4-FFF2-40B4-BE49-F238E27FC236}">
                      <a16:creationId xmlns:a16="http://schemas.microsoft.com/office/drawing/2014/main" id="{F3CE8088-C2C3-9DC2-E2EE-EA3968ABC1CE}"/>
                    </a:ext>
                  </a:extLst>
                </p14:cNvPr>
                <p14:cNvContentPartPr/>
                <p14:nvPr/>
              </p14:nvContentPartPr>
              <p14:xfrm>
                <a:off x="8677628" y="2809315"/>
                <a:ext cx="43200" cy="391320"/>
              </p14:xfrm>
            </p:contentPart>
          </mc:Choice>
          <mc:Fallback>
            <p:pic>
              <p:nvPicPr>
                <p:cNvPr id="172" name="Freihand 171">
                  <a:extLst>
                    <a:ext uri="{FF2B5EF4-FFF2-40B4-BE49-F238E27FC236}">
                      <a16:creationId xmlns:a16="http://schemas.microsoft.com/office/drawing/2014/main" id="{F3CE8088-C2C3-9DC2-E2EE-EA3968ABC1CE}"/>
                    </a:ext>
                  </a:extLst>
                </p:cNvPr>
                <p:cNvPicPr/>
                <p:nvPr/>
              </p:nvPicPr>
              <p:blipFill>
                <a:blip r:embed="rId206"/>
                <a:stretch>
                  <a:fillRect/>
                </a:stretch>
              </p:blipFill>
              <p:spPr>
                <a:xfrm>
                  <a:off x="8659628" y="2791315"/>
                  <a:ext cx="78840" cy="426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7">
              <p14:nvContentPartPr>
                <p14:cNvPr id="173" name="Freihand 172">
                  <a:extLst>
                    <a:ext uri="{FF2B5EF4-FFF2-40B4-BE49-F238E27FC236}">
                      <a16:creationId xmlns:a16="http://schemas.microsoft.com/office/drawing/2014/main" id="{8BD3F25F-2B78-C0AA-B0E8-D903BADF1E1A}"/>
                    </a:ext>
                  </a:extLst>
                </p14:cNvPr>
                <p14:cNvContentPartPr/>
                <p14:nvPr/>
              </p14:nvContentPartPr>
              <p14:xfrm>
                <a:off x="9068948" y="2588275"/>
                <a:ext cx="39240" cy="693000"/>
              </p14:xfrm>
            </p:contentPart>
          </mc:Choice>
          <mc:Fallback>
            <p:pic>
              <p:nvPicPr>
                <p:cNvPr id="173" name="Freihand 172">
                  <a:extLst>
                    <a:ext uri="{FF2B5EF4-FFF2-40B4-BE49-F238E27FC236}">
                      <a16:creationId xmlns:a16="http://schemas.microsoft.com/office/drawing/2014/main" id="{8BD3F25F-2B78-C0AA-B0E8-D903BADF1E1A}"/>
                    </a:ext>
                  </a:extLst>
                </p:cNvPr>
                <p:cNvPicPr/>
                <p:nvPr/>
              </p:nvPicPr>
              <p:blipFill>
                <a:blip r:embed="rId208"/>
                <a:stretch>
                  <a:fillRect/>
                </a:stretch>
              </p:blipFill>
              <p:spPr>
                <a:xfrm>
                  <a:off x="9050948" y="2570635"/>
                  <a:ext cx="74880" cy="72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9">
              <p14:nvContentPartPr>
                <p14:cNvPr id="174" name="Freihand 173">
                  <a:extLst>
                    <a:ext uri="{FF2B5EF4-FFF2-40B4-BE49-F238E27FC236}">
                      <a16:creationId xmlns:a16="http://schemas.microsoft.com/office/drawing/2014/main" id="{FEE387BD-40A0-60F6-542D-708297903BCF}"/>
                    </a:ext>
                  </a:extLst>
                </p14:cNvPr>
                <p14:cNvContentPartPr/>
                <p14:nvPr/>
              </p14:nvContentPartPr>
              <p14:xfrm>
                <a:off x="8874548" y="2861515"/>
                <a:ext cx="528120" cy="169920"/>
              </p14:xfrm>
            </p:contentPart>
          </mc:Choice>
          <mc:Fallback>
            <p:pic>
              <p:nvPicPr>
                <p:cNvPr id="174" name="Freihand 173">
                  <a:extLst>
                    <a:ext uri="{FF2B5EF4-FFF2-40B4-BE49-F238E27FC236}">
                      <a16:creationId xmlns:a16="http://schemas.microsoft.com/office/drawing/2014/main" id="{FEE387BD-40A0-60F6-542D-708297903BCF}"/>
                    </a:ext>
                  </a:extLst>
                </p:cNvPr>
                <p:cNvPicPr/>
                <p:nvPr/>
              </p:nvPicPr>
              <p:blipFill>
                <a:blip r:embed="rId210"/>
                <a:stretch>
                  <a:fillRect/>
                </a:stretch>
              </p:blipFill>
              <p:spPr>
                <a:xfrm>
                  <a:off x="8856908" y="2843875"/>
                  <a:ext cx="563760" cy="2055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32ECCA69-EE2A-DE37-4DDF-F0238BDC0EEC}"/>
              </a:ext>
            </a:extLst>
          </p:cNvPr>
          <p:cNvGrpSpPr/>
          <p:nvPr/>
        </p:nvGrpSpPr>
        <p:grpSpPr>
          <a:xfrm>
            <a:off x="1972268" y="3033595"/>
            <a:ext cx="1067400" cy="943560"/>
            <a:chOff x="1972268" y="3033595"/>
            <a:chExt cx="1067400" cy="943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11">
              <p14:nvContentPartPr>
                <p14:cNvPr id="120" name="Freihand 119">
                  <a:extLst>
                    <a:ext uri="{FF2B5EF4-FFF2-40B4-BE49-F238E27FC236}">
                      <a16:creationId xmlns:a16="http://schemas.microsoft.com/office/drawing/2014/main" id="{5ED67630-5193-C5CF-C771-1AFE08EE7F8B}"/>
                    </a:ext>
                  </a:extLst>
                </p14:cNvPr>
                <p14:cNvContentPartPr/>
                <p14:nvPr/>
              </p14:nvContentPartPr>
              <p14:xfrm>
                <a:off x="2072348" y="3212875"/>
                <a:ext cx="65160" cy="494280"/>
              </p14:xfrm>
            </p:contentPart>
          </mc:Choice>
          <mc:Fallback>
            <p:pic>
              <p:nvPicPr>
                <p:cNvPr id="120" name="Freihand 119">
                  <a:extLst>
                    <a:ext uri="{FF2B5EF4-FFF2-40B4-BE49-F238E27FC236}">
                      <a16:creationId xmlns:a16="http://schemas.microsoft.com/office/drawing/2014/main" id="{5ED67630-5193-C5CF-C771-1AFE08EE7F8B}"/>
                    </a:ext>
                  </a:extLst>
                </p:cNvPr>
                <p:cNvPicPr/>
                <p:nvPr/>
              </p:nvPicPr>
              <p:blipFill>
                <a:blip r:embed="rId212"/>
                <a:stretch>
                  <a:fillRect/>
                </a:stretch>
              </p:blipFill>
              <p:spPr>
                <a:xfrm>
                  <a:off x="2054348" y="3194875"/>
                  <a:ext cx="100800" cy="52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3">
              <p14:nvContentPartPr>
                <p14:cNvPr id="121" name="Freihand 120">
                  <a:extLst>
                    <a:ext uri="{FF2B5EF4-FFF2-40B4-BE49-F238E27FC236}">
                      <a16:creationId xmlns:a16="http://schemas.microsoft.com/office/drawing/2014/main" id="{D4DBAE54-C3B3-C4F1-0A1D-734F1CD3D175}"/>
                    </a:ext>
                  </a:extLst>
                </p14:cNvPr>
                <p14:cNvContentPartPr/>
                <p14:nvPr/>
              </p14:nvContentPartPr>
              <p14:xfrm>
                <a:off x="1972268" y="3296395"/>
                <a:ext cx="417240" cy="86400"/>
              </p14:xfrm>
            </p:contentPart>
          </mc:Choice>
          <mc:Fallback>
            <p:pic>
              <p:nvPicPr>
                <p:cNvPr id="121" name="Freihand 120">
                  <a:extLst>
                    <a:ext uri="{FF2B5EF4-FFF2-40B4-BE49-F238E27FC236}">
                      <a16:creationId xmlns:a16="http://schemas.microsoft.com/office/drawing/2014/main" id="{D4DBAE54-C3B3-C4F1-0A1D-734F1CD3D175}"/>
                    </a:ext>
                  </a:extLst>
                </p:cNvPr>
                <p:cNvPicPr/>
                <p:nvPr/>
              </p:nvPicPr>
              <p:blipFill>
                <a:blip r:embed="rId214"/>
                <a:stretch>
                  <a:fillRect/>
                </a:stretch>
              </p:blipFill>
              <p:spPr>
                <a:xfrm>
                  <a:off x="1954268" y="3278395"/>
                  <a:ext cx="452880" cy="122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5">
              <p14:nvContentPartPr>
                <p14:cNvPr id="122" name="Freihand 121">
                  <a:extLst>
                    <a:ext uri="{FF2B5EF4-FFF2-40B4-BE49-F238E27FC236}">
                      <a16:creationId xmlns:a16="http://schemas.microsoft.com/office/drawing/2014/main" id="{B118D57B-DF31-31AC-6D94-B37B8802E9FF}"/>
                    </a:ext>
                  </a:extLst>
                </p14:cNvPr>
                <p14:cNvContentPartPr/>
                <p14:nvPr/>
              </p14:nvContentPartPr>
              <p14:xfrm>
                <a:off x="2290508" y="3460195"/>
                <a:ext cx="206280" cy="242280"/>
              </p14:xfrm>
            </p:contentPart>
          </mc:Choice>
          <mc:Fallback>
            <p:pic>
              <p:nvPicPr>
                <p:cNvPr id="122" name="Freihand 121">
                  <a:extLst>
                    <a:ext uri="{FF2B5EF4-FFF2-40B4-BE49-F238E27FC236}">
                      <a16:creationId xmlns:a16="http://schemas.microsoft.com/office/drawing/2014/main" id="{B118D57B-DF31-31AC-6D94-B37B8802E9FF}"/>
                    </a:ext>
                  </a:extLst>
                </p:cNvPr>
                <p:cNvPicPr/>
                <p:nvPr/>
              </p:nvPicPr>
              <p:blipFill>
                <a:blip r:embed="rId216"/>
                <a:stretch>
                  <a:fillRect/>
                </a:stretch>
              </p:blipFill>
              <p:spPr>
                <a:xfrm>
                  <a:off x="2272868" y="3442555"/>
                  <a:ext cx="241920" cy="27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7">
              <p14:nvContentPartPr>
                <p14:cNvPr id="123" name="Freihand 122">
                  <a:extLst>
                    <a:ext uri="{FF2B5EF4-FFF2-40B4-BE49-F238E27FC236}">
                      <a16:creationId xmlns:a16="http://schemas.microsoft.com/office/drawing/2014/main" id="{8A3737AF-D1FE-4F5D-D0B9-9A3A415C2997}"/>
                    </a:ext>
                  </a:extLst>
                </p14:cNvPr>
                <p14:cNvContentPartPr/>
                <p14:nvPr/>
              </p14:nvContentPartPr>
              <p14:xfrm>
                <a:off x="2549708" y="3033595"/>
                <a:ext cx="207000" cy="943560"/>
              </p14:xfrm>
            </p:contentPart>
          </mc:Choice>
          <mc:Fallback>
            <p:pic>
              <p:nvPicPr>
                <p:cNvPr id="123" name="Freihand 122">
                  <a:extLst>
                    <a:ext uri="{FF2B5EF4-FFF2-40B4-BE49-F238E27FC236}">
                      <a16:creationId xmlns:a16="http://schemas.microsoft.com/office/drawing/2014/main" id="{8A3737AF-D1FE-4F5D-D0B9-9A3A415C2997}"/>
                    </a:ext>
                  </a:extLst>
                </p:cNvPr>
                <p:cNvPicPr/>
                <p:nvPr/>
              </p:nvPicPr>
              <p:blipFill>
                <a:blip r:embed="rId218"/>
                <a:stretch>
                  <a:fillRect/>
                </a:stretch>
              </p:blipFill>
              <p:spPr>
                <a:xfrm>
                  <a:off x="2531708" y="3015955"/>
                  <a:ext cx="242640" cy="97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9">
              <p14:nvContentPartPr>
                <p14:cNvPr id="124" name="Freihand 123">
                  <a:extLst>
                    <a:ext uri="{FF2B5EF4-FFF2-40B4-BE49-F238E27FC236}">
                      <a16:creationId xmlns:a16="http://schemas.microsoft.com/office/drawing/2014/main" id="{71F66FF5-7B5E-4832-F607-9C2D92C5C356}"/>
                    </a:ext>
                  </a:extLst>
                </p14:cNvPr>
                <p14:cNvContentPartPr/>
                <p14:nvPr/>
              </p14:nvContentPartPr>
              <p14:xfrm>
                <a:off x="2966228" y="3337435"/>
                <a:ext cx="73440" cy="93240"/>
              </p14:xfrm>
            </p:contentPart>
          </mc:Choice>
          <mc:Fallback>
            <p:pic>
              <p:nvPicPr>
                <p:cNvPr id="124" name="Freihand 123">
                  <a:extLst>
                    <a:ext uri="{FF2B5EF4-FFF2-40B4-BE49-F238E27FC236}">
                      <a16:creationId xmlns:a16="http://schemas.microsoft.com/office/drawing/2014/main" id="{71F66FF5-7B5E-4832-F607-9C2D92C5C356}"/>
                    </a:ext>
                  </a:extLst>
                </p:cNvPr>
                <p:cNvPicPr/>
                <p:nvPr/>
              </p:nvPicPr>
              <p:blipFill>
                <a:blip r:embed="rId220"/>
                <a:stretch>
                  <a:fillRect/>
                </a:stretch>
              </p:blipFill>
              <p:spPr>
                <a:xfrm>
                  <a:off x="2948228" y="3319435"/>
                  <a:ext cx="109080" cy="128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1">
              <p14:nvContentPartPr>
                <p14:cNvPr id="176" name="Freihand 175">
                  <a:extLst>
                    <a:ext uri="{FF2B5EF4-FFF2-40B4-BE49-F238E27FC236}">
                      <a16:creationId xmlns:a16="http://schemas.microsoft.com/office/drawing/2014/main" id="{DD6A119C-C64C-ADCD-BE81-FE48B3A94C78}"/>
                    </a:ext>
                  </a:extLst>
                </p14:cNvPr>
                <p14:cNvContentPartPr/>
                <p14:nvPr/>
              </p14:nvContentPartPr>
              <p14:xfrm>
                <a:off x="2277188" y="3387475"/>
                <a:ext cx="234720" cy="365760"/>
              </p14:xfrm>
            </p:contentPart>
          </mc:Choice>
          <mc:Fallback>
            <p:pic>
              <p:nvPicPr>
                <p:cNvPr id="176" name="Freihand 175">
                  <a:extLst>
                    <a:ext uri="{FF2B5EF4-FFF2-40B4-BE49-F238E27FC236}">
                      <a16:creationId xmlns:a16="http://schemas.microsoft.com/office/drawing/2014/main" id="{DD6A119C-C64C-ADCD-BE81-FE48B3A94C78}"/>
                    </a:ext>
                  </a:extLst>
                </p:cNvPr>
                <p:cNvPicPr/>
                <p:nvPr/>
              </p:nvPicPr>
              <p:blipFill>
                <a:blip r:embed="rId222"/>
                <a:stretch>
                  <a:fillRect/>
                </a:stretch>
              </p:blipFill>
              <p:spPr>
                <a:xfrm>
                  <a:off x="2259188" y="3369835"/>
                  <a:ext cx="270360" cy="401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2" name="Gruppieren 201">
            <a:extLst>
              <a:ext uri="{FF2B5EF4-FFF2-40B4-BE49-F238E27FC236}">
                <a16:creationId xmlns:a16="http://schemas.microsoft.com/office/drawing/2014/main" id="{32A4B6A6-CA5B-D11D-671F-BAC999CA49EA}"/>
              </a:ext>
            </a:extLst>
          </p:cNvPr>
          <p:cNvGrpSpPr/>
          <p:nvPr/>
        </p:nvGrpSpPr>
        <p:grpSpPr>
          <a:xfrm>
            <a:off x="8164988" y="899515"/>
            <a:ext cx="3440880" cy="841320"/>
            <a:chOff x="8164988" y="899515"/>
            <a:chExt cx="3440880" cy="841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3">
              <p14:nvContentPartPr>
                <p14:cNvPr id="79" name="Freihand 78">
                  <a:extLst>
                    <a:ext uri="{FF2B5EF4-FFF2-40B4-BE49-F238E27FC236}">
                      <a16:creationId xmlns:a16="http://schemas.microsoft.com/office/drawing/2014/main" id="{954FF4E3-CB52-9EF8-61ED-B7EF218BD873}"/>
                    </a:ext>
                  </a:extLst>
                </p14:cNvPr>
                <p14:cNvContentPartPr/>
                <p14:nvPr/>
              </p14:nvContentPartPr>
              <p14:xfrm>
                <a:off x="8164988" y="1582435"/>
                <a:ext cx="248040" cy="52200"/>
              </p14:xfrm>
            </p:contentPart>
          </mc:Choice>
          <mc:Fallback>
            <p:pic>
              <p:nvPicPr>
                <p:cNvPr id="79" name="Freihand 78">
                  <a:extLst>
                    <a:ext uri="{FF2B5EF4-FFF2-40B4-BE49-F238E27FC236}">
                      <a16:creationId xmlns:a16="http://schemas.microsoft.com/office/drawing/2014/main" id="{954FF4E3-CB52-9EF8-61ED-B7EF218BD873}"/>
                    </a:ext>
                  </a:extLst>
                </p:cNvPr>
                <p:cNvPicPr/>
                <p:nvPr/>
              </p:nvPicPr>
              <p:blipFill>
                <a:blip r:embed="rId224"/>
                <a:stretch>
                  <a:fillRect/>
                </a:stretch>
              </p:blipFill>
              <p:spPr>
                <a:xfrm>
                  <a:off x="8146988" y="1564795"/>
                  <a:ext cx="283680" cy="8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5">
              <p14:nvContentPartPr>
                <p14:cNvPr id="80" name="Freihand 79">
                  <a:extLst>
                    <a:ext uri="{FF2B5EF4-FFF2-40B4-BE49-F238E27FC236}">
                      <a16:creationId xmlns:a16="http://schemas.microsoft.com/office/drawing/2014/main" id="{A35E4366-14FC-685F-5033-C92F855F852C}"/>
                    </a:ext>
                  </a:extLst>
                </p14:cNvPr>
                <p14:cNvContentPartPr/>
                <p14:nvPr/>
              </p14:nvContentPartPr>
              <p14:xfrm>
                <a:off x="8290988" y="1389115"/>
                <a:ext cx="17280" cy="342720"/>
              </p14:xfrm>
            </p:contentPart>
          </mc:Choice>
          <mc:Fallback>
            <p:pic>
              <p:nvPicPr>
                <p:cNvPr id="80" name="Freihand 79">
                  <a:extLst>
                    <a:ext uri="{FF2B5EF4-FFF2-40B4-BE49-F238E27FC236}">
                      <a16:creationId xmlns:a16="http://schemas.microsoft.com/office/drawing/2014/main" id="{A35E4366-14FC-685F-5033-C92F855F852C}"/>
                    </a:ext>
                  </a:extLst>
                </p:cNvPr>
                <p:cNvPicPr/>
                <p:nvPr/>
              </p:nvPicPr>
              <p:blipFill>
                <a:blip r:embed="rId226"/>
                <a:stretch>
                  <a:fillRect/>
                </a:stretch>
              </p:blipFill>
              <p:spPr>
                <a:xfrm>
                  <a:off x="8273348" y="1371475"/>
                  <a:ext cx="52920" cy="378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7">
              <p14:nvContentPartPr>
                <p14:cNvPr id="82" name="Freihand 81">
                  <a:extLst>
                    <a:ext uri="{FF2B5EF4-FFF2-40B4-BE49-F238E27FC236}">
                      <a16:creationId xmlns:a16="http://schemas.microsoft.com/office/drawing/2014/main" id="{ED0B2B66-BE21-FD48-5305-6D492DEB67D1}"/>
                    </a:ext>
                  </a:extLst>
                </p14:cNvPr>
                <p14:cNvContentPartPr/>
                <p14:nvPr/>
              </p14:nvContentPartPr>
              <p14:xfrm>
                <a:off x="8564228" y="1193995"/>
                <a:ext cx="46800" cy="513360"/>
              </p14:xfrm>
            </p:contentPart>
          </mc:Choice>
          <mc:Fallback>
            <p:pic>
              <p:nvPicPr>
                <p:cNvPr id="82" name="Freihand 81">
                  <a:extLst>
                    <a:ext uri="{FF2B5EF4-FFF2-40B4-BE49-F238E27FC236}">
                      <a16:creationId xmlns:a16="http://schemas.microsoft.com/office/drawing/2014/main" id="{ED0B2B66-BE21-FD48-5305-6D492DEB67D1}"/>
                    </a:ext>
                  </a:extLst>
                </p:cNvPr>
                <p:cNvPicPr/>
                <p:nvPr/>
              </p:nvPicPr>
              <p:blipFill>
                <a:blip r:embed="rId228"/>
                <a:stretch>
                  <a:fillRect/>
                </a:stretch>
              </p:blipFill>
              <p:spPr>
                <a:xfrm>
                  <a:off x="8546588" y="1175995"/>
                  <a:ext cx="82440" cy="549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9">
              <p14:nvContentPartPr>
                <p14:cNvPr id="83" name="Freihand 82">
                  <a:extLst>
                    <a:ext uri="{FF2B5EF4-FFF2-40B4-BE49-F238E27FC236}">
                      <a16:creationId xmlns:a16="http://schemas.microsoft.com/office/drawing/2014/main" id="{E4835C3C-4BBB-5614-DF19-5794C8281EED}"/>
                    </a:ext>
                  </a:extLst>
                </p14:cNvPr>
                <p14:cNvContentPartPr/>
                <p14:nvPr/>
              </p14:nvContentPartPr>
              <p14:xfrm>
                <a:off x="8514548" y="1408555"/>
                <a:ext cx="188280" cy="38880"/>
              </p14:xfrm>
            </p:contentPart>
          </mc:Choice>
          <mc:Fallback>
            <p:pic>
              <p:nvPicPr>
                <p:cNvPr id="83" name="Freihand 82">
                  <a:extLst>
                    <a:ext uri="{FF2B5EF4-FFF2-40B4-BE49-F238E27FC236}">
                      <a16:creationId xmlns:a16="http://schemas.microsoft.com/office/drawing/2014/main" id="{E4835C3C-4BBB-5614-DF19-5794C8281EED}"/>
                    </a:ext>
                  </a:extLst>
                </p:cNvPr>
                <p:cNvPicPr/>
                <p:nvPr/>
              </p:nvPicPr>
              <p:blipFill>
                <a:blip r:embed="rId230"/>
                <a:stretch>
                  <a:fillRect/>
                </a:stretch>
              </p:blipFill>
              <p:spPr>
                <a:xfrm>
                  <a:off x="8496908" y="1390555"/>
                  <a:ext cx="223920" cy="7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1">
              <p14:nvContentPartPr>
                <p14:cNvPr id="84" name="Freihand 83">
                  <a:extLst>
                    <a:ext uri="{FF2B5EF4-FFF2-40B4-BE49-F238E27FC236}">
                      <a16:creationId xmlns:a16="http://schemas.microsoft.com/office/drawing/2014/main" id="{AA3A3D03-C7D7-AC34-622A-9D0FE048D2FA}"/>
                    </a:ext>
                  </a:extLst>
                </p14:cNvPr>
                <p14:cNvContentPartPr/>
                <p14:nvPr/>
              </p14:nvContentPartPr>
              <p14:xfrm>
                <a:off x="8640548" y="1543555"/>
                <a:ext cx="191520" cy="197280"/>
              </p14:xfrm>
            </p:contentPart>
          </mc:Choice>
          <mc:Fallback>
            <p:pic>
              <p:nvPicPr>
                <p:cNvPr id="84" name="Freihand 83">
                  <a:extLst>
                    <a:ext uri="{FF2B5EF4-FFF2-40B4-BE49-F238E27FC236}">
                      <a16:creationId xmlns:a16="http://schemas.microsoft.com/office/drawing/2014/main" id="{AA3A3D03-C7D7-AC34-622A-9D0FE048D2FA}"/>
                    </a:ext>
                  </a:extLst>
                </p:cNvPr>
                <p:cNvPicPr/>
                <p:nvPr/>
              </p:nvPicPr>
              <p:blipFill>
                <a:blip r:embed="rId232"/>
                <a:stretch>
                  <a:fillRect/>
                </a:stretch>
              </p:blipFill>
              <p:spPr>
                <a:xfrm>
                  <a:off x="8622548" y="1525555"/>
                  <a:ext cx="227160" cy="23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3">
              <p14:nvContentPartPr>
                <p14:cNvPr id="85" name="Freihand 84">
                  <a:extLst>
                    <a:ext uri="{FF2B5EF4-FFF2-40B4-BE49-F238E27FC236}">
                      <a16:creationId xmlns:a16="http://schemas.microsoft.com/office/drawing/2014/main" id="{241D09BB-73BC-5CEB-02EF-2D649315E161}"/>
                    </a:ext>
                  </a:extLst>
                </p14:cNvPr>
                <p14:cNvContentPartPr/>
                <p14:nvPr/>
              </p14:nvContentPartPr>
              <p14:xfrm>
                <a:off x="8892188" y="1190395"/>
                <a:ext cx="127440" cy="491400"/>
              </p14:xfrm>
            </p:contentPart>
          </mc:Choice>
          <mc:Fallback>
            <p:pic>
              <p:nvPicPr>
                <p:cNvPr id="85" name="Freihand 84">
                  <a:extLst>
                    <a:ext uri="{FF2B5EF4-FFF2-40B4-BE49-F238E27FC236}">
                      <a16:creationId xmlns:a16="http://schemas.microsoft.com/office/drawing/2014/main" id="{241D09BB-73BC-5CEB-02EF-2D649315E161}"/>
                    </a:ext>
                  </a:extLst>
                </p:cNvPr>
                <p:cNvPicPr/>
                <p:nvPr/>
              </p:nvPicPr>
              <p:blipFill>
                <a:blip r:embed="rId234"/>
                <a:stretch>
                  <a:fillRect/>
                </a:stretch>
              </p:blipFill>
              <p:spPr>
                <a:xfrm>
                  <a:off x="8874188" y="1172755"/>
                  <a:ext cx="163080" cy="527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5">
              <p14:nvContentPartPr>
                <p14:cNvPr id="87" name="Freihand 86">
                  <a:extLst>
                    <a:ext uri="{FF2B5EF4-FFF2-40B4-BE49-F238E27FC236}">
                      <a16:creationId xmlns:a16="http://schemas.microsoft.com/office/drawing/2014/main" id="{77E2FEB9-F295-5B09-F937-4014B59B3F50}"/>
                    </a:ext>
                  </a:extLst>
                </p14:cNvPr>
                <p14:cNvContentPartPr/>
                <p14:nvPr/>
              </p14:nvContentPartPr>
              <p14:xfrm>
                <a:off x="9035468" y="1310995"/>
                <a:ext cx="156240" cy="259200"/>
              </p14:xfrm>
            </p:contentPart>
          </mc:Choice>
          <mc:Fallback>
            <p:pic>
              <p:nvPicPr>
                <p:cNvPr id="87" name="Freihand 86">
                  <a:extLst>
                    <a:ext uri="{FF2B5EF4-FFF2-40B4-BE49-F238E27FC236}">
                      <a16:creationId xmlns:a16="http://schemas.microsoft.com/office/drawing/2014/main" id="{77E2FEB9-F295-5B09-F937-4014B59B3F50}"/>
                    </a:ext>
                  </a:extLst>
                </p:cNvPr>
                <p:cNvPicPr/>
                <p:nvPr/>
              </p:nvPicPr>
              <p:blipFill>
                <a:blip r:embed="rId236"/>
                <a:stretch>
                  <a:fillRect/>
                </a:stretch>
              </p:blipFill>
              <p:spPr>
                <a:xfrm>
                  <a:off x="9017468" y="1293355"/>
                  <a:ext cx="191880" cy="29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7">
              <p14:nvContentPartPr>
                <p14:cNvPr id="88" name="Freihand 87">
                  <a:extLst>
                    <a:ext uri="{FF2B5EF4-FFF2-40B4-BE49-F238E27FC236}">
                      <a16:creationId xmlns:a16="http://schemas.microsoft.com/office/drawing/2014/main" id="{F83F0EEA-8416-1FA0-5ABF-D60FA46EB3F2}"/>
                    </a:ext>
                  </a:extLst>
                </p14:cNvPr>
                <p14:cNvContentPartPr/>
                <p14:nvPr/>
              </p14:nvContentPartPr>
              <p14:xfrm>
                <a:off x="9172988" y="1300555"/>
                <a:ext cx="160560" cy="208800"/>
              </p14:xfrm>
            </p:contentPart>
          </mc:Choice>
          <mc:Fallback>
            <p:pic>
              <p:nvPicPr>
                <p:cNvPr id="88" name="Freihand 87">
                  <a:extLst>
                    <a:ext uri="{FF2B5EF4-FFF2-40B4-BE49-F238E27FC236}">
                      <a16:creationId xmlns:a16="http://schemas.microsoft.com/office/drawing/2014/main" id="{F83F0EEA-8416-1FA0-5ABF-D60FA46EB3F2}"/>
                    </a:ext>
                  </a:extLst>
                </p:cNvPr>
                <p:cNvPicPr/>
                <p:nvPr/>
              </p:nvPicPr>
              <p:blipFill>
                <a:blip r:embed="rId238"/>
                <a:stretch>
                  <a:fillRect/>
                </a:stretch>
              </p:blipFill>
              <p:spPr>
                <a:xfrm>
                  <a:off x="9154988" y="1282555"/>
                  <a:ext cx="19620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9">
              <p14:nvContentPartPr>
                <p14:cNvPr id="89" name="Freihand 88">
                  <a:extLst>
                    <a:ext uri="{FF2B5EF4-FFF2-40B4-BE49-F238E27FC236}">
                      <a16:creationId xmlns:a16="http://schemas.microsoft.com/office/drawing/2014/main" id="{9AB53703-8C7B-906A-9462-3461D5EAB24B}"/>
                    </a:ext>
                  </a:extLst>
                </p14:cNvPr>
                <p14:cNvContentPartPr/>
                <p14:nvPr/>
              </p14:nvContentPartPr>
              <p14:xfrm>
                <a:off x="9337868" y="1391995"/>
                <a:ext cx="132480" cy="37800"/>
              </p14:xfrm>
            </p:contentPart>
          </mc:Choice>
          <mc:Fallback>
            <p:pic>
              <p:nvPicPr>
                <p:cNvPr id="89" name="Freihand 88">
                  <a:extLst>
                    <a:ext uri="{FF2B5EF4-FFF2-40B4-BE49-F238E27FC236}">
                      <a16:creationId xmlns:a16="http://schemas.microsoft.com/office/drawing/2014/main" id="{9AB53703-8C7B-906A-9462-3461D5EAB24B}"/>
                    </a:ext>
                  </a:extLst>
                </p:cNvPr>
                <p:cNvPicPr/>
                <p:nvPr/>
              </p:nvPicPr>
              <p:blipFill>
                <a:blip r:embed="rId240"/>
                <a:stretch>
                  <a:fillRect/>
                </a:stretch>
              </p:blipFill>
              <p:spPr>
                <a:xfrm>
                  <a:off x="9319868" y="1373995"/>
                  <a:ext cx="168120" cy="7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1">
              <p14:nvContentPartPr>
                <p14:cNvPr id="90" name="Freihand 89">
                  <a:extLst>
                    <a:ext uri="{FF2B5EF4-FFF2-40B4-BE49-F238E27FC236}">
                      <a16:creationId xmlns:a16="http://schemas.microsoft.com/office/drawing/2014/main" id="{776C0D46-AEB3-B0D2-0C29-1CB4533B5418}"/>
                    </a:ext>
                  </a:extLst>
                </p14:cNvPr>
                <p14:cNvContentPartPr/>
                <p14:nvPr/>
              </p14:nvContentPartPr>
              <p14:xfrm>
                <a:off x="9504908" y="1197595"/>
                <a:ext cx="101160" cy="319680"/>
              </p14:xfrm>
            </p:contentPart>
          </mc:Choice>
          <mc:Fallback>
            <p:pic>
              <p:nvPicPr>
                <p:cNvPr id="90" name="Freihand 89">
                  <a:extLst>
                    <a:ext uri="{FF2B5EF4-FFF2-40B4-BE49-F238E27FC236}">
                      <a16:creationId xmlns:a16="http://schemas.microsoft.com/office/drawing/2014/main" id="{776C0D46-AEB3-B0D2-0C29-1CB4533B5418}"/>
                    </a:ext>
                  </a:extLst>
                </p:cNvPr>
                <p:cNvPicPr/>
                <p:nvPr/>
              </p:nvPicPr>
              <p:blipFill>
                <a:blip r:embed="rId242"/>
                <a:stretch>
                  <a:fillRect/>
                </a:stretch>
              </p:blipFill>
              <p:spPr>
                <a:xfrm>
                  <a:off x="9486908" y="1179595"/>
                  <a:ext cx="136800" cy="355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3">
              <p14:nvContentPartPr>
                <p14:cNvPr id="91" name="Freihand 90">
                  <a:extLst>
                    <a:ext uri="{FF2B5EF4-FFF2-40B4-BE49-F238E27FC236}">
                      <a16:creationId xmlns:a16="http://schemas.microsoft.com/office/drawing/2014/main" id="{C8F42A2C-E8CC-C17B-A668-61E766CF918B}"/>
                    </a:ext>
                  </a:extLst>
                </p14:cNvPr>
                <p14:cNvContentPartPr/>
                <p14:nvPr/>
              </p14:nvContentPartPr>
              <p14:xfrm>
                <a:off x="9410588" y="1315675"/>
                <a:ext cx="189360" cy="29880"/>
              </p14:xfrm>
            </p:contentPart>
          </mc:Choice>
          <mc:Fallback>
            <p:pic>
              <p:nvPicPr>
                <p:cNvPr id="91" name="Freihand 90">
                  <a:extLst>
                    <a:ext uri="{FF2B5EF4-FFF2-40B4-BE49-F238E27FC236}">
                      <a16:creationId xmlns:a16="http://schemas.microsoft.com/office/drawing/2014/main" id="{C8F42A2C-E8CC-C17B-A668-61E766CF918B}"/>
                    </a:ext>
                  </a:extLst>
                </p:cNvPr>
                <p:cNvPicPr/>
                <p:nvPr/>
              </p:nvPicPr>
              <p:blipFill>
                <a:blip r:embed="rId244"/>
                <a:stretch>
                  <a:fillRect/>
                </a:stretch>
              </p:blipFill>
              <p:spPr>
                <a:xfrm>
                  <a:off x="9392588" y="1297675"/>
                  <a:ext cx="22500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5">
              <p14:nvContentPartPr>
                <p14:cNvPr id="92" name="Freihand 91">
                  <a:extLst>
                    <a:ext uri="{FF2B5EF4-FFF2-40B4-BE49-F238E27FC236}">
                      <a16:creationId xmlns:a16="http://schemas.microsoft.com/office/drawing/2014/main" id="{AA8CEACB-3327-E5F6-007D-57B4BBC9E4AC}"/>
                    </a:ext>
                  </a:extLst>
                </p14:cNvPr>
                <p14:cNvContentPartPr/>
                <p14:nvPr/>
              </p14:nvContentPartPr>
              <p14:xfrm>
                <a:off x="9654308" y="1148635"/>
                <a:ext cx="153720" cy="438480"/>
              </p14:xfrm>
            </p:contentPart>
          </mc:Choice>
          <mc:Fallback>
            <p:pic>
              <p:nvPicPr>
                <p:cNvPr id="92" name="Freihand 91">
                  <a:extLst>
                    <a:ext uri="{FF2B5EF4-FFF2-40B4-BE49-F238E27FC236}">
                      <a16:creationId xmlns:a16="http://schemas.microsoft.com/office/drawing/2014/main" id="{AA8CEACB-3327-E5F6-007D-57B4BBC9E4AC}"/>
                    </a:ext>
                  </a:extLst>
                </p:cNvPr>
                <p:cNvPicPr/>
                <p:nvPr/>
              </p:nvPicPr>
              <p:blipFill>
                <a:blip r:embed="rId246"/>
                <a:stretch>
                  <a:fillRect/>
                </a:stretch>
              </p:blipFill>
              <p:spPr>
                <a:xfrm>
                  <a:off x="9636308" y="1130995"/>
                  <a:ext cx="189360" cy="474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7">
              <p14:nvContentPartPr>
                <p14:cNvPr id="93" name="Freihand 92">
                  <a:extLst>
                    <a:ext uri="{FF2B5EF4-FFF2-40B4-BE49-F238E27FC236}">
                      <a16:creationId xmlns:a16="http://schemas.microsoft.com/office/drawing/2014/main" id="{7E8BA4F2-75CA-B650-3B25-8BC05CC33377}"/>
                    </a:ext>
                  </a:extLst>
                </p14:cNvPr>
                <p14:cNvContentPartPr/>
                <p14:nvPr/>
              </p14:nvContentPartPr>
              <p14:xfrm>
                <a:off x="9796148" y="1370755"/>
                <a:ext cx="116640" cy="80280"/>
              </p14:xfrm>
            </p:contentPart>
          </mc:Choice>
          <mc:Fallback>
            <p:pic>
              <p:nvPicPr>
                <p:cNvPr id="93" name="Freihand 92">
                  <a:extLst>
                    <a:ext uri="{FF2B5EF4-FFF2-40B4-BE49-F238E27FC236}">
                      <a16:creationId xmlns:a16="http://schemas.microsoft.com/office/drawing/2014/main" id="{7E8BA4F2-75CA-B650-3B25-8BC05CC33377}"/>
                    </a:ext>
                  </a:extLst>
                </p:cNvPr>
                <p:cNvPicPr/>
                <p:nvPr/>
              </p:nvPicPr>
              <p:blipFill>
                <a:blip r:embed="rId248"/>
                <a:stretch>
                  <a:fillRect/>
                </a:stretch>
              </p:blipFill>
              <p:spPr>
                <a:xfrm>
                  <a:off x="9778508" y="1352755"/>
                  <a:ext cx="152280" cy="115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9">
              <p14:nvContentPartPr>
                <p14:cNvPr id="95" name="Freihand 94">
                  <a:extLst>
                    <a:ext uri="{FF2B5EF4-FFF2-40B4-BE49-F238E27FC236}">
                      <a16:creationId xmlns:a16="http://schemas.microsoft.com/office/drawing/2014/main" id="{928B668E-F7A0-A0A3-A59D-50777E170BAD}"/>
                    </a:ext>
                  </a:extLst>
                </p14:cNvPr>
                <p14:cNvContentPartPr/>
                <p14:nvPr/>
              </p14:nvContentPartPr>
              <p14:xfrm>
                <a:off x="9878588" y="1352755"/>
                <a:ext cx="104760" cy="94680"/>
              </p14:xfrm>
            </p:contentPart>
          </mc:Choice>
          <mc:Fallback>
            <p:pic>
              <p:nvPicPr>
                <p:cNvPr id="95" name="Freihand 94">
                  <a:extLst>
                    <a:ext uri="{FF2B5EF4-FFF2-40B4-BE49-F238E27FC236}">
                      <a16:creationId xmlns:a16="http://schemas.microsoft.com/office/drawing/2014/main" id="{928B668E-F7A0-A0A3-A59D-50777E170BAD}"/>
                    </a:ext>
                  </a:extLst>
                </p:cNvPr>
                <p:cNvPicPr/>
                <p:nvPr/>
              </p:nvPicPr>
              <p:blipFill>
                <a:blip r:embed="rId250"/>
                <a:stretch>
                  <a:fillRect/>
                </a:stretch>
              </p:blipFill>
              <p:spPr>
                <a:xfrm>
                  <a:off x="9860948" y="1334755"/>
                  <a:ext cx="140400" cy="130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1">
              <p14:nvContentPartPr>
                <p14:cNvPr id="96" name="Freihand 95">
                  <a:extLst>
                    <a:ext uri="{FF2B5EF4-FFF2-40B4-BE49-F238E27FC236}">
                      <a16:creationId xmlns:a16="http://schemas.microsoft.com/office/drawing/2014/main" id="{9A49FCF2-3EBD-4DE9-101D-0C32114A2AAB}"/>
                    </a:ext>
                  </a:extLst>
                </p14:cNvPr>
                <p14:cNvContentPartPr/>
                <p14:nvPr/>
              </p14:nvContentPartPr>
              <p14:xfrm>
                <a:off x="10023308" y="1199395"/>
                <a:ext cx="253080" cy="333000"/>
              </p14:xfrm>
            </p:contentPart>
          </mc:Choice>
          <mc:Fallback>
            <p:pic>
              <p:nvPicPr>
                <p:cNvPr id="96" name="Freihand 95">
                  <a:extLst>
                    <a:ext uri="{FF2B5EF4-FFF2-40B4-BE49-F238E27FC236}">
                      <a16:creationId xmlns:a16="http://schemas.microsoft.com/office/drawing/2014/main" id="{9A49FCF2-3EBD-4DE9-101D-0C32114A2AAB}"/>
                    </a:ext>
                  </a:extLst>
                </p:cNvPr>
                <p:cNvPicPr/>
                <p:nvPr/>
              </p:nvPicPr>
              <p:blipFill>
                <a:blip r:embed="rId252"/>
                <a:stretch>
                  <a:fillRect/>
                </a:stretch>
              </p:blipFill>
              <p:spPr>
                <a:xfrm>
                  <a:off x="10005668" y="1181395"/>
                  <a:ext cx="288720" cy="368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3">
              <p14:nvContentPartPr>
                <p14:cNvPr id="97" name="Freihand 96">
                  <a:extLst>
                    <a:ext uri="{FF2B5EF4-FFF2-40B4-BE49-F238E27FC236}">
                      <a16:creationId xmlns:a16="http://schemas.microsoft.com/office/drawing/2014/main" id="{5F110C5F-6622-7B5E-06CD-26379A8FAB7D}"/>
                    </a:ext>
                  </a:extLst>
                </p14:cNvPr>
                <p14:cNvContentPartPr/>
                <p14:nvPr/>
              </p14:nvContentPartPr>
              <p14:xfrm>
                <a:off x="10206908" y="1391635"/>
                <a:ext cx="124920" cy="236160"/>
              </p14:xfrm>
            </p:contentPart>
          </mc:Choice>
          <mc:Fallback>
            <p:pic>
              <p:nvPicPr>
                <p:cNvPr id="97" name="Freihand 96">
                  <a:extLst>
                    <a:ext uri="{FF2B5EF4-FFF2-40B4-BE49-F238E27FC236}">
                      <a16:creationId xmlns:a16="http://schemas.microsoft.com/office/drawing/2014/main" id="{5F110C5F-6622-7B5E-06CD-26379A8FAB7D}"/>
                    </a:ext>
                  </a:extLst>
                </p:cNvPr>
                <p:cNvPicPr/>
                <p:nvPr/>
              </p:nvPicPr>
              <p:blipFill>
                <a:blip r:embed="rId254"/>
                <a:stretch>
                  <a:fillRect/>
                </a:stretch>
              </p:blipFill>
              <p:spPr>
                <a:xfrm>
                  <a:off x="10189268" y="1373995"/>
                  <a:ext cx="160560" cy="271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5">
              <p14:nvContentPartPr>
                <p14:cNvPr id="99" name="Freihand 98">
                  <a:extLst>
                    <a:ext uri="{FF2B5EF4-FFF2-40B4-BE49-F238E27FC236}">
                      <a16:creationId xmlns:a16="http://schemas.microsoft.com/office/drawing/2014/main" id="{ECAFE3E8-8711-BD45-44D7-7F7D31553DCC}"/>
                    </a:ext>
                  </a:extLst>
                </p14:cNvPr>
                <p14:cNvContentPartPr/>
                <p14:nvPr/>
              </p14:nvContentPartPr>
              <p14:xfrm>
                <a:off x="10502468" y="1366075"/>
                <a:ext cx="142560" cy="42120"/>
              </p14:xfrm>
            </p:contentPart>
          </mc:Choice>
          <mc:Fallback>
            <p:pic>
              <p:nvPicPr>
                <p:cNvPr id="99" name="Freihand 98">
                  <a:extLst>
                    <a:ext uri="{FF2B5EF4-FFF2-40B4-BE49-F238E27FC236}">
                      <a16:creationId xmlns:a16="http://schemas.microsoft.com/office/drawing/2014/main" id="{ECAFE3E8-8711-BD45-44D7-7F7D31553DCC}"/>
                    </a:ext>
                  </a:extLst>
                </p:cNvPr>
                <p:cNvPicPr/>
                <p:nvPr/>
              </p:nvPicPr>
              <p:blipFill>
                <a:blip r:embed="rId256"/>
                <a:stretch>
                  <a:fillRect/>
                </a:stretch>
              </p:blipFill>
              <p:spPr>
                <a:xfrm>
                  <a:off x="10484468" y="1348075"/>
                  <a:ext cx="178200" cy="77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7">
              <p14:nvContentPartPr>
                <p14:cNvPr id="100" name="Freihand 99">
                  <a:extLst>
                    <a:ext uri="{FF2B5EF4-FFF2-40B4-BE49-F238E27FC236}">
                      <a16:creationId xmlns:a16="http://schemas.microsoft.com/office/drawing/2014/main" id="{BA9542E8-61C8-4171-61DA-924592DD0BA1}"/>
                    </a:ext>
                  </a:extLst>
                </p14:cNvPr>
                <p14:cNvContentPartPr/>
                <p14:nvPr/>
              </p14:nvContentPartPr>
              <p14:xfrm>
                <a:off x="10481948" y="1272115"/>
                <a:ext cx="51480" cy="368640"/>
              </p14:xfrm>
            </p:contentPart>
          </mc:Choice>
          <mc:Fallback>
            <p:pic>
              <p:nvPicPr>
                <p:cNvPr id="100" name="Freihand 99">
                  <a:extLst>
                    <a:ext uri="{FF2B5EF4-FFF2-40B4-BE49-F238E27FC236}">
                      <a16:creationId xmlns:a16="http://schemas.microsoft.com/office/drawing/2014/main" id="{BA9542E8-61C8-4171-61DA-924592DD0BA1}"/>
                    </a:ext>
                  </a:extLst>
                </p:cNvPr>
                <p:cNvPicPr/>
                <p:nvPr/>
              </p:nvPicPr>
              <p:blipFill>
                <a:blip r:embed="rId258"/>
                <a:stretch>
                  <a:fillRect/>
                </a:stretch>
              </p:blipFill>
              <p:spPr>
                <a:xfrm>
                  <a:off x="10464308" y="1254115"/>
                  <a:ext cx="87120" cy="404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9">
              <p14:nvContentPartPr>
                <p14:cNvPr id="101" name="Freihand 100">
                  <a:extLst>
                    <a:ext uri="{FF2B5EF4-FFF2-40B4-BE49-F238E27FC236}">
                      <a16:creationId xmlns:a16="http://schemas.microsoft.com/office/drawing/2014/main" id="{256D76C3-5B82-5973-1F71-52AEE48F8B22}"/>
                    </a:ext>
                  </a:extLst>
                </p14:cNvPr>
                <p14:cNvContentPartPr/>
                <p14:nvPr/>
              </p14:nvContentPartPr>
              <p14:xfrm>
                <a:off x="10745468" y="1092835"/>
                <a:ext cx="50040" cy="515880"/>
              </p14:xfrm>
            </p:contentPart>
          </mc:Choice>
          <mc:Fallback>
            <p:pic>
              <p:nvPicPr>
                <p:cNvPr id="101" name="Freihand 100">
                  <a:extLst>
                    <a:ext uri="{FF2B5EF4-FFF2-40B4-BE49-F238E27FC236}">
                      <a16:creationId xmlns:a16="http://schemas.microsoft.com/office/drawing/2014/main" id="{256D76C3-5B82-5973-1F71-52AEE48F8B22}"/>
                    </a:ext>
                  </a:extLst>
                </p:cNvPr>
                <p:cNvPicPr/>
                <p:nvPr/>
              </p:nvPicPr>
              <p:blipFill>
                <a:blip r:embed="rId260"/>
                <a:stretch>
                  <a:fillRect/>
                </a:stretch>
              </p:blipFill>
              <p:spPr>
                <a:xfrm>
                  <a:off x="10727828" y="1075195"/>
                  <a:ext cx="85680" cy="55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1">
              <p14:nvContentPartPr>
                <p14:cNvPr id="102" name="Freihand 101">
                  <a:extLst>
                    <a:ext uri="{FF2B5EF4-FFF2-40B4-BE49-F238E27FC236}">
                      <a16:creationId xmlns:a16="http://schemas.microsoft.com/office/drawing/2014/main" id="{D4D329CC-3553-9B49-FAF7-7E98E5C3E9B3}"/>
                    </a:ext>
                  </a:extLst>
                </p14:cNvPr>
                <p14:cNvContentPartPr/>
                <p14:nvPr/>
              </p14:nvContentPartPr>
              <p14:xfrm>
                <a:off x="10636388" y="1224235"/>
                <a:ext cx="363240" cy="105840"/>
              </p14:xfrm>
            </p:contentPart>
          </mc:Choice>
          <mc:Fallback>
            <p:pic>
              <p:nvPicPr>
                <p:cNvPr id="102" name="Freihand 101">
                  <a:extLst>
                    <a:ext uri="{FF2B5EF4-FFF2-40B4-BE49-F238E27FC236}">
                      <a16:creationId xmlns:a16="http://schemas.microsoft.com/office/drawing/2014/main" id="{D4D329CC-3553-9B49-FAF7-7E98E5C3E9B3}"/>
                    </a:ext>
                  </a:extLst>
                </p:cNvPr>
                <p:cNvPicPr/>
                <p:nvPr/>
              </p:nvPicPr>
              <p:blipFill>
                <a:blip r:embed="rId262"/>
                <a:stretch>
                  <a:fillRect/>
                </a:stretch>
              </p:blipFill>
              <p:spPr>
                <a:xfrm>
                  <a:off x="10618388" y="1206235"/>
                  <a:ext cx="398880" cy="14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3">
              <p14:nvContentPartPr>
                <p14:cNvPr id="103" name="Freihand 102">
                  <a:extLst>
                    <a:ext uri="{FF2B5EF4-FFF2-40B4-BE49-F238E27FC236}">
                      <a16:creationId xmlns:a16="http://schemas.microsoft.com/office/drawing/2014/main" id="{8794C521-5690-90FA-F1EB-1E4BF6CDFD54}"/>
                    </a:ext>
                  </a:extLst>
                </p14:cNvPr>
                <p14:cNvContentPartPr/>
                <p14:nvPr/>
              </p14:nvContentPartPr>
              <p14:xfrm>
                <a:off x="10933388" y="1367155"/>
                <a:ext cx="65880" cy="77760"/>
              </p14:xfrm>
            </p:contentPart>
          </mc:Choice>
          <mc:Fallback>
            <p:pic>
              <p:nvPicPr>
                <p:cNvPr id="103" name="Freihand 102">
                  <a:extLst>
                    <a:ext uri="{FF2B5EF4-FFF2-40B4-BE49-F238E27FC236}">
                      <a16:creationId xmlns:a16="http://schemas.microsoft.com/office/drawing/2014/main" id="{8794C521-5690-90FA-F1EB-1E4BF6CDFD54}"/>
                    </a:ext>
                  </a:extLst>
                </p:cNvPr>
                <p:cNvPicPr/>
                <p:nvPr/>
              </p:nvPicPr>
              <p:blipFill>
                <a:blip r:embed="rId264"/>
                <a:stretch>
                  <a:fillRect/>
                </a:stretch>
              </p:blipFill>
              <p:spPr>
                <a:xfrm>
                  <a:off x="10915748" y="1349155"/>
                  <a:ext cx="101520" cy="113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5">
              <p14:nvContentPartPr>
                <p14:cNvPr id="104" name="Freihand 103">
                  <a:extLst>
                    <a:ext uri="{FF2B5EF4-FFF2-40B4-BE49-F238E27FC236}">
                      <a16:creationId xmlns:a16="http://schemas.microsoft.com/office/drawing/2014/main" id="{D4897A3B-B2DB-3043-551B-9E561A1BBAE5}"/>
                    </a:ext>
                  </a:extLst>
                </p14:cNvPr>
                <p14:cNvContentPartPr/>
                <p14:nvPr/>
              </p14:nvContentPartPr>
              <p14:xfrm>
                <a:off x="10956788" y="1239715"/>
                <a:ext cx="284040" cy="281160"/>
              </p14:xfrm>
            </p:contentPart>
          </mc:Choice>
          <mc:Fallback>
            <p:pic>
              <p:nvPicPr>
                <p:cNvPr id="104" name="Freihand 103">
                  <a:extLst>
                    <a:ext uri="{FF2B5EF4-FFF2-40B4-BE49-F238E27FC236}">
                      <a16:creationId xmlns:a16="http://schemas.microsoft.com/office/drawing/2014/main" id="{D4897A3B-B2DB-3043-551B-9E561A1BBAE5}"/>
                    </a:ext>
                  </a:extLst>
                </p:cNvPr>
                <p:cNvPicPr/>
                <p:nvPr/>
              </p:nvPicPr>
              <p:blipFill>
                <a:blip r:embed="rId266"/>
                <a:stretch>
                  <a:fillRect/>
                </a:stretch>
              </p:blipFill>
              <p:spPr>
                <a:xfrm>
                  <a:off x="10938788" y="1221715"/>
                  <a:ext cx="319680" cy="31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7">
              <p14:nvContentPartPr>
                <p14:cNvPr id="106" name="Freihand 105">
                  <a:extLst>
                    <a:ext uri="{FF2B5EF4-FFF2-40B4-BE49-F238E27FC236}">
                      <a16:creationId xmlns:a16="http://schemas.microsoft.com/office/drawing/2014/main" id="{45E296F4-BC7B-D548-876C-060F42459E38}"/>
                    </a:ext>
                  </a:extLst>
                </p14:cNvPr>
                <p14:cNvContentPartPr/>
                <p14:nvPr/>
              </p14:nvContentPartPr>
              <p14:xfrm>
                <a:off x="11208788" y="1388035"/>
                <a:ext cx="144360" cy="306360"/>
              </p14:xfrm>
            </p:contentPart>
          </mc:Choice>
          <mc:Fallback>
            <p:pic>
              <p:nvPicPr>
                <p:cNvPr id="106" name="Freihand 105">
                  <a:extLst>
                    <a:ext uri="{FF2B5EF4-FFF2-40B4-BE49-F238E27FC236}">
                      <a16:creationId xmlns:a16="http://schemas.microsoft.com/office/drawing/2014/main" id="{45E296F4-BC7B-D548-876C-060F42459E38}"/>
                    </a:ext>
                  </a:extLst>
                </p:cNvPr>
                <p:cNvPicPr/>
                <p:nvPr/>
              </p:nvPicPr>
              <p:blipFill>
                <a:blip r:embed="rId268"/>
                <a:stretch>
                  <a:fillRect/>
                </a:stretch>
              </p:blipFill>
              <p:spPr>
                <a:xfrm>
                  <a:off x="11191148" y="1370395"/>
                  <a:ext cx="180000" cy="34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9">
              <p14:nvContentPartPr>
                <p14:cNvPr id="107" name="Freihand 106">
                  <a:extLst>
                    <a:ext uri="{FF2B5EF4-FFF2-40B4-BE49-F238E27FC236}">
                      <a16:creationId xmlns:a16="http://schemas.microsoft.com/office/drawing/2014/main" id="{7878401A-74B3-5D24-88F3-AF4B769B4161}"/>
                    </a:ext>
                  </a:extLst>
                </p14:cNvPr>
                <p14:cNvContentPartPr/>
                <p14:nvPr/>
              </p14:nvContentPartPr>
              <p14:xfrm>
                <a:off x="10454588" y="1386595"/>
                <a:ext cx="165240" cy="17280"/>
              </p14:xfrm>
            </p:contentPart>
          </mc:Choice>
          <mc:Fallback>
            <p:pic>
              <p:nvPicPr>
                <p:cNvPr id="107" name="Freihand 106">
                  <a:extLst>
                    <a:ext uri="{FF2B5EF4-FFF2-40B4-BE49-F238E27FC236}">
                      <a16:creationId xmlns:a16="http://schemas.microsoft.com/office/drawing/2014/main" id="{7878401A-74B3-5D24-88F3-AF4B769B4161}"/>
                    </a:ext>
                  </a:extLst>
                </p:cNvPr>
                <p:cNvPicPr/>
                <p:nvPr/>
              </p:nvPicPr>
              <p:blipFill>
                <a:blip r:embed="rId270"/>
                <a:stretch>
                  <a:fillRect/>
                </a:stretch>
              </p:blipFill>
              <p:spPr>
                <a:xfrm>
                  <a:off x="10436588" y="1368595"/>
                  <a:ext cx="200880" cy="52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1">
              <p14:nvContentPartPr>
                <p14:cNvPr id="108" name="Freihand 107">
                  <a:extLst>
                    <a:ext uri="{FF2B5EF4-FFF2-40B4-BE49-F238E27FC236}">
                      <a16:creationId xmlns:a16="http://schemas.microsoft.com/office/drawing/2014/main" id="{F28BCE23-EB4D-52B9-87E6-462F43250FFF}"/>
                    </a:ext>
                  </a:extLst>
                </p14:cNvPr>
                <p14:cNvContentPartPr/>
                <p14:nvPr/>
              </p14:nvContentPartPr>
              <p14:xfrm>
                <a:off x="10466828" y="1237555"/>
                <a:ext cx="92520" cy="218520"/>
              </p14:xfrm>
            </p:contentPart>
          </mc:Choice>
          <mc:Fallback>
            <p:pic>
              <p:nvPicPr>
                <p:cNvPr id="108" name="Freihand 107">
                  <a:extLst>
                    <a:ext uri="{FF2B5EF4-FFF2-40B4-BE49-F238E27FC236}">
                      <a16:creationId xmlns:a16="http://schemas.microsoft.com/office/drawing/2014/main" id="{F28BCE23-EB4D-52B9-87E6-462F43250FFF}"/>
                    </a:ext>
                  </a:extLst>
                </p:cNvPr>
                <p:cNvPicPr/>
                <p:nvPr/>
              </p:nvPicPr>
              <p:blipFill>
                <a:blip r:embed="rId272"/>
                <a:stretch>
                  <a:fillRect/>
                </a:stretch>
              </p:blipFill>
              <p:spPr>
                <a:xfrm>
                  <a:off x="10449188" y="1219915"/>
                  <a:ext cx="128160" cy="25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3">
              <p14:nvContentPartPr>
                <p14:cNvPr id="201" name="Freihand 200">
                  <a:extLst>
                    <a:ext uri="{FF2B5EF4-FFF2-40B4-BE49-F238E27FC236}">
                      <a16:creationId xmlns:a16="http://schemas.microsoft.com/office/drawing/2014/main" id="{C4AD4EA4-6B27-966A-0DED-AA70BF90042A}"/>
                    </a:ext>
                  </a:extLst>
                </p14:cNvPr>
                <p14:cNvContentPartPr/>
                <p14:nvPr/>
              </p14:nvContentPartPr>
              <p14:xfrm>
                <a:off x="11361788" y="899515"/>
                <a:ext cx="244080" cy="737280"/>
              </p14:xfrm>
            </p:contentPart>
          </mc:Choice>
          <mc:Fallback>
            <p:pic>
              <p:nvPicPr>
                <p:cNvPr id="201" name="Freihand 200">
                  <a:extLst>
                    <a:ext uri="{FF2B5EF4-FFF2-40B4-BE49-F238E27FC236}">
                      <a16:creationId xmlns:a16="http://schemas.microsoft.com/office/drawing/2014/main" id="{C4AD4EA4-6B27-966A-0DED-AA70BF90042A}"/>
                    </a:ext>
                  </a:extLst>
                </p:cNvPr>
                <p:cNvPicPr/>
                <p:nvPr/>
              </p:nvPicPr>
              <p:blipFill>
                <a:blip r:embed="rId274"/>
                <a:stretch>
                  <a:fillRect/>
                </a:stretch>
              </p:blipFill>
              <p:spPr>
                <a:xfrm>
                  <a:off x="11344148" y="881875"/>
                  <a:ext cx="279720" cy="77292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75">
            <p14:nvContentPartPr>
              <p14:cNvPr id="203" name="Freihand 202">
                <a:extLst>
                  <a:ext uri="{FF2B5EF4-FFF2-40B4-BE49-F238E27FC236}">
                    <a16:creationId xmlns:a16="http://schemas.microsoft.com/office/drawing/2014/main" id="{BBFE473F-186D-F2A4-AE96-A291C012AB49}"/>
                  </a:ext>
                </a:extLst>
              </p14:cNvPr>
              <p14:cNvContentPartPr/>
              <p14:nvPr/>
            </p14:nvContentPartPr>
            <p14:xfrm>
              <a:off x="11978468" y="2180395"/>
              <a:ext cx="258480" cy="1196640"/>
            </p14:xfrm>
          </p:contentPart>
        </mc:Choice>
        <mc:Fallback>
          <p:pic>
            <p:nvPicPr>
              <p:cNvPr id="203" name="Freihand 202">
                <a:extLst>
                  <a:ext uri="{FF2B5EF4-FFF2-40B4-BE49-F238E27FC236}">
                    <a16:creationId xmlns:a16="http://schemas.microsoft.com/office/drawing/2014/main" id="{BBFE473F-186D-F2A4-AE96-A291C012AB49}"/>
                  </a:ext>
                </a:extLst>
              </p:cNvPr>
              <p:cNvPicPr/>
              <p:nvPr/>
            </p:nvPicPr>
            <p:blipFill>
              <a:blip r:embed="rId276"/>
              <a:stretch>
                <a:fillRect/>
              </a:stretch>
            </p:blipFill>
            <p:spPr>
              <a:xfrm>
                <a:off x="11960468" y="2162755"/>
                <a:ext cx="294120" cy="1232280"/>
              </a:xfrm>
              <a:prstGeom prst="rect">
                <a:avLst/>
              </a:prstGeom>
            </p:spPr>
          </p:pic>
        </mc:Fallback>
      </mc:AlternateContent>
      <p:grpSp>
        <p:nvGrpSpPr>
          <p:cNvPr id="212" name="Gruppieren 211">
            <a:extLst>
              <a:ext uri="{FF2B5EF4-FFF2-40B4-BE49-F238E27FC236}">
                <a16:creationId xmlns:a16="http://schemas.microsoft.com/office/drawing/2014/main" id="{C03340A7-1FD2-C2EE-9EE0-1E627D5CB8B5}"/>
              </a:ext>
            </a:extLst>
          </p:cNvPr>
          <p:cNvGrpSpPr/>
          <p:nvPr/>
        </p:nvGrpSpPr>
        <p:grpSpPr>
          <a:xfrm>
            <a:off x="9359108" y="2420875"/>
            <a:ext cx="2845800" cy="941400"/>
            <a:chOff x="9359108" y="2420875"/>
            <a:chExt cx="2845800" cy="941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77">
              <p14:nvContentPartPr>
                <p14:cNvPr id="178" name="Freihand 177">
                  <a:extLst>
                    <a:ext uri="{FF2B5EF4-FFF2-40B4-BE49-F238E27FC236}">
                      <a16:creationId xmlns:a16="http://schemas.microsoft.com/office/drawing/2014/main" id="{ED861128-A08F-F0EB-C76B-D9C57FBC8526}"/>
                    </a:ext>
                  </a:extLst>
                </p14:cNvPr>
                <p14:cNvContentPartPr/>
                <p14:nvPr/>
              </p14:nvContentPartPr>
              <p14:xfrm>
                <a:off x="9359108" y="2978515"/>
                <a:ext cx="43920" cy="65880"/>
              </p14:xfrm>
            </p:contentPart>
          </mc:Choice>
          <mc:Fallback>
            <p:pic>
              <p:nvPicPr>
                <p:cNvPr id="178" name="Freihand 177">
                  <a:extLst>
                    <a:ext uri="{FF2B5EF4-FFF2-40B4-BE49-F238E27FC236}">
                      <a16:creationId xmlns:a16="http://schemas.microsoft.com/office/drawing/2014/main" id="{ED861128-A08F-F0EB-C76B-D9C57FBC8526}"/>
                    </a:ext>
                  </a:extLst>
                </p:cNvPr>
                <p:cNvPicPr/>
                <p:nvPr/>
              </p:nvPicPr>
              <p:blipFill>
                <a:blip r:embed="rId278"/>
                <a:stretch>
                  <a:fillRect/>
                </a:stretch>
              </p:blipFill>
              <p:spPr>
                <a:xfrm>
                  <a:off x="9341108" y="2960875"/>
                  <a:ext cx="79560" cy="101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9">
              <p14:nvContentPartPr>
                <p14:cNvPr id="179" name="Freihand 178">
                  <a:extLst>
                    <a:ext uri="{FF2B5EF4-FFF2-40B4-BE49-F238E27FC236}">
                      <a16:creationId xmlns:a16="http://schemas.microsoft.com/office/drawing/2014/main" id="{516ABF5B-1691-74E1-92DA-A85E249DE6EF}"/>
                    </a:ext>
                  </a:extLst>
                </p14:cNvPr>
                <p14:cNvContentPartPr/>
                <p14:nvPr/>
              </p14:nvContentPartPr>
              <p14:xfrm>
                <a:off x="9473948" y="2532475"/>
                <a:ext cx="233280" cy="829800"/>
              </p14:xfrm>
            </p:contentPart>
          </mc:Choice>
          <mc:Fallback>
            <p:pic>
              <p:nvPicPr>
                <p:cNvPr id="179" name="Freihand 178">
                  <a:extLst>
                    <a:ext uri="{FF2B5EF4-FFF2-40B4-BE49-F238E27FC236}">
                      <a16:creationId xmlns:a16="http://schemas.microsoft.com/office/drawing/2014/main" id="{516ABF5B-1691-74E1-92DA-A85E249DE6EF}"/>
                    </a:ext>
                  </a:extLst>
                </p:cNvPr>
                <p:cNvPicPr/>
                <p:nvPr/>
              </p:nvPicPr>
              <p:blipFill>
                <a:blip r:embed="rId280"/>
                <a:stretch>
                  <a:fillRect/>
                </a:stretch>
              </p:blipFill>
              <p:spPr>
                <a:xfrm>
                  <a:off x="9455948" y="2514835"/>
                  <a:ext cx="268920" cy="86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1">
              <p14:nvContentPartPr>
                <p14:cNvPr id="180" name="Freihand 179">
                  <a:extLst>
                    <a:ext uri="{FF2B5EF4-FFF2-40B4-BE49-F238E27FC236}">
                      <a16:creationId xmlns:a16="http://schemas.microsoft.com/office/drawing/2014/main" id="{E1D41EA2-C13B-87B7-6EF9-52484CBABD73}"/>
                    </a:ext>
                  </a:extLst>
                </p14:cNvPr>
                <p14:cNvContentPartPr/>
                <p14:nvPr/>
              </p14:nvContentPartPr>
              <p14:xfrm>
                <a:off x="9628748" y="2718955"/>
                <a:ext cx="194400" cy="340200"/>
              </p14:xfrm>
            </p:contentPart>
          </mc:Choice>
          <mc:Fallback>
            <p:pic>
              <p:nvPicPr>
                <p:cNvPr id="180" name="Freihand 179">
                  <a:extLst>
                    <a:ext uri="{FF2B5EF4-FFF2-40B4-BE49-F238E27FC236}">
                      <a16:creationId xmlns:a16="http://schemas.microsoft.com/office/drawing/2014/main" id="{E1D41EA2-C13B-87B7-6EF9-52484CBABD73}"/>
                    </a:ext>
                  </a:extLst>
                </p:cNvPr>
                <p:cNvPicPr/>
                <p:nvPr/>
              </p:nvPicPr>
              <p:blipFill>
                <a:blip r:embed="rId282"/>
                <a:stretch>
                  <a:fillRect/>
                </a:stretch>
              </p:blipFill>
              <p:spPr>
                <a:xfrm>
                  <a:off x="9610748" y="2700955"/>
                  <a:ext cx="230040" cy="37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3">
              <p14:nvContentPartPr>
                <p14:cNvPr id="181" name="Freihand 180">
                  <a:extLst>
                    <a:ext uri="{FF2B5EF4-FFF2-40B4-BE49-F238E27FC236}">
                      <a16:creationId xmlns:a16="http://schemas.microsoft.com/office/drawing/2014/main" id="{F43EC79C-144C-CD52-52B0-6AA04458056C}"/>
                    </a:ext>
                  </a:extLst>
                </p14:cNvPr>
                <p14:cNvContentPartPr/>
                <p14:nvPr/>
              </p14:nvContentPartPr>
              <p14:xfrm>
                <a:off x="9872468" y="2812915"/>
                <a:ext cx="97560" cy="35640"/>
              </p14:xfrm>
            </p:contentPart>
          </mc:Choice>
          <mc:Fallback>
            <p:pic>
              <p:nvPicPr>
                <p:cNvPr id="181" name="Freihand 180">
                  <a:extLst>
                    <a:ext uri="{FF2B5EF4-FFF2-40B4-BE49-F238E27FC236}">
                      <a16:creationId xmlns:a16="http://schemas.microsoft.com/office/drawing/2014/main" id="{F43EC79C-144C-CD52-52B0-6AA04458056C}"/>
                    </a:ext>
                  </a:extLst>
                </p:cNvPr>
                <p:cNvPicPr/>
                <p:nvPr/>
              </p:nvPicPr>
              <p:blipFill>
                <a:blip r:embed="rId284"/>
                <a:stretch>
                  <a:fillRect/>
                </a:stretch>
              </p:blipFill>
              <p:spPr>
                <a:xfrm>
                  <a:off x="9854828" y="2794915"/>
                  <a:ext cx="13320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5">
              <p14:nvContentPartPr>
                <p14:cNvPr id="182" name="Freihand 181">
                  <a:extLst>
                    <a:ext uri="{FF2B5EF4-FFF2-40B4-BE49-F238E27FC236}">
                      <a16:creationId xmlns:a16="http://schemas.microsoft.com/office/drawing/2014/main" id="{F968F908-A4E7-FC7A-6D93-3AE87E9728EF}"/>
                    </a:ext>
                  </a:extLst>
                </p14:cNvPr>
                <p14:cNvContentPartPr/>
                <p14:nvPr/>
              </p14:nvContentPartPr>
              <p14:xfrm>
                <a:off x="10088108" y="2586475"/>
                <a:ext cx="117360" cy="444600"/>
              </p14:xfrm>
            </p:contentPart>
          </mc:Choice>
          <mc:Fallback>
            <p:pic>
              <p:nvPicPr>
                <p:cNvPr id="182" name="Freihand 181">
                  <a:extLst>
                    <a:ext uri="{FF2B5EF4-FFF2-40B4-BE49-F238E27FC236}">
                      <a16:creationId xmlns:a16="http://schemas.microsoft.com/office/drawing/2014/main" id="{F968F908-A4E7-FC7A-6D93-3AE87E9728EF}"/>
                    </a:ext>
                  </a:extLst>
                </p:cNvPr>
                <p:cNvPicPr/>
                <p:nvPr/>
              </p:nvPicPr>
              <p:blipFill>
                <a:blip r:embed="rId286"/>
                <a:stretch>
                  <a:fillRect/>
                </a:stretch>
              </p:blipFill>
              <p:spPr>
                <a:xfrm>
                  <a:off x="10070468" y="2568835"/>
                  <a:ext cx="153000" cy="480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7">
              <p14:nvContentPartPr>
                <p14:cNvPr id="183" name="Freihand 182">
                  <a:extLst>
                    <a:ext uri="{FF2B5EF4-FFF2-40B4-BE49-F238E27FC236}">
                      <a16:creationId xmlns:a16="http://schemas.microsoft.com/office/drawing/2014/main" id="{1BFB0E02-6ECB-1CDB-B386-77EE8ED7F0BC}"/>
                    </a:ext>
                  </a:extLst>
                </p14:cNvPr>
                <p14:cNvContentPartPr/>
                <p14:nvPr/>
              </p14:nvContentPartPr>
              <p14:xfrm>
                <a:off x="9986228" y="2714275"/>
                <a:ext cx="217080" cy="58680"/>
              </p14:xfrm>
            </p:contentPart>
          </mc:Choice>
          <mc:Fallback>
            <p:pic>
              <p:nvPicPr>
                <p:cNvPr id="183" name="Freihand 182">
                  <a:extLst>
                    <a:ext uri="{FF2B5EF4-FFF2-40B4-BE49-F238E27FC236}">
                      <a16:creationId xmlns:a16="http://schemas.microsoft.com/office/drawing/2014/main" id="{1BFB0E02-6ECB-1CDB-B386-77EE8ED7F0BC}"/>
                    </a:ext>
                  </a:extLst>
                </p:cNvPr>
                <p:cNvPicPr/>
                <p:nvPr/>
              </p:nvPicPr>
              <p:blipFill>
                <a:blip r:embed="rId288"/>
                <a:stretch>
                  <a:fillRect/>
                </a:stretch>
              </p:blipFill>
              <p:spPr>
                <a:xfrm>
                  <a:off x="9968228" y="2696275"/>
                  <a:ext cx="252720" cy="9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9">
              <p14:nvContentPartPr>
                <p14:cNvPr id="184" name="Freihand 183">
                  <a:extLst>
                    <a:ext uri="{FF2B5EF4-FFF2-40B4-BE49-F238E27FC236}">
                      <a16:creationId xmlns:a16="http://schemas.microsoft.com/office/drawing/2014/main" id="{21C8B552-975E-3D2F-80E1-39721316A75B}"/>
                    </a:ext>
                  </a:extLst>
                </p14:cNvPr>
                <p14:cNvContentPartPr/>
                <p14:nvPr/>
              </p14:nvContentPartPr>
              <p14:xfrm>
                <a:off x="10198988" y="2830195"/>
                <a:ext cx="91080" cy="216360"/>
              </p14:xfrm>
            </p:contentPart>
          </mc:Choice>
          <mc:Fallback>
            <p:pic>
              <p:nvPicPr>
                <p:cNvPr id="184" name="Freihand 183">
                  <a:extLst>
                    <a:ext uri="{FF2B5EF4-FFF2-40B4-BE49-F238E27FC236}">
                      <a16:creationId xmlns:a16="http://schemas.microsoft.com/office/drawing/2014/main" id="{21C8B552-975E-3D2F-80E1-39721316A75B}"/>
                    </a:ext>
                  </a:extLst>
                </p:cNvPr>
                <p:cNvPicPr/>
                <p:nvPr/>
              </p:nvPicPr>
              <p:blipFill>
                <a:blip r:embed="rId290"/>
                <a:stretch>
                  <a:fillRect/>
                </a:stretch>
              </p:blipFill>
              <p:spPr>
                <a:xfrm>
                  <a:off x="10180988" y="2812555"/>
                  <a:ext cx="126720" cy="25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1">
              <p14:nvContentPartPr>
                <p14:cNvPr id="185" name="Freihand 184">
                  <a:extLst>
                    <a:ext uri="{FF2B5EF4-FFF2-40B4-BE49-F238E27FC236}">
                      <a16:creationId xmlns:a16="http://schemas.microsoft.com/office/drawing/2014/main" id="{42A152D7-1546-B612-9F74-BA4CAD75F801}"/>
                    </a:ext>
                  </a:extLst>
                </p14:cNvPr>
                <p14:cNvContentPartPr/>
                <p14:nvPr/>
              </p14:nvContentPartPr>
              <p14:xfrm>
                <a:off x="10308428" y="2519155"/>
                <a:ext cx="224280" cy="772200"/>
              </p14:xfrm>
            </p:contentPart>
          </mc:Choice>
          <mc:Fallback>
            <p:pic>
              <p:nvPicPr>
                <p:cNvPr id="185" name="Freihand 184">
                  <a:extLst>
                    <a:ext uri="{FF2B5EF4-FFF2-40B4-BE49-F238E27FC236}">
                      <a16:creationId xmlns:a16="http://schemas.microsoft.com/office/drawing/2014/main" id="{42A152D7-1546-B612-9F74-BA4CAD75F801}"/>
                    </a:ext>
                  </a:extLst>
                </p:cNvPr>
                <p:cNvPicPr/>
                <p:nvPr/>
              </p:nvPicPr>
              <p:blipFill>
                <a:blip r:embed="rId292"/>
                <a:stretch>
                  <a:fillRect/>
                </a:stretch>
              </p:blipFill>
              <p:spPr>
                <a:xfrm>
                  <a:off x="10290788" y="2501515"/>
                  <a:ext cx="259920" cy="80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3">
              <p14:nvContentPartPr>
                <p14:cNvPr id="186" name="Freihand 185">
                  <a:extLst>
                    <a:ext uri="{FF2B5EF4-FFF2-40B4-BE49-F238E27FC236}">
                      <a16:creationId xmlns:a16="http://schemas.microsoft.com/office/drawing/2014/main" id="{E939F581-E562-C82F-ADB4-E45C5F87B8BF}"/>
                    </a:ext>
                  </a:extLst>
                </p14:cNvPr>
                <p14:cNvContentPartPr/>
                <p14:nvPr/>
              </p14:nvContentPartPr>
              <p14:xfrm>
                <a:off x="10664828" y="2811835"/>
                <a:ext cx="48240" cy="69480"/>
              </p14:xfrm>
            </p:contentPart>
          </mc:Choice>
          <mc:Fallback>
            <p:pic>
              <p:nvPicPr>
                <p:cNvPr id="186" name="Freihand 185">
                  <a:extLst>
                    <a:ext uri="{FF2B5EF4-FFF2-40B4-BE49-F238E27FC236}">
                      <a16:creationId xmlns:a16="http://schemas.microsoft.com/office/drawing/2014/main" id="{E939F581-E562-C82F-ADB4-E45C5F87B8BF}"/>
                    </a:ext>
                  </a:extLst>
                </p:cNvPr>
                <p:cNvPicPr/>
                <p:nvPr/>
              </p:nvPicPr>
              <p:blipFill>
                <a:blip r:embed="rId294"/>
                <a:stretch>
                  <a:fillRect/>
                </a:stretch>
              </p:blipFill>
              <p:spPr>
                <a:xfrm>
                  <a:off x="10646828" y="2794195"/>
                  <a:ext cx="83880" cy="10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5">
              <p14:nvContentPartPr>
                <p14:cNvPr id="188" name="Freihand 187">
                  <a:extLst>
                    <a:ext uri="{FF2B5EF4-FFF2-40B4-BE49-F238E27FC236}">
                      <a16:creationId xmlns:a16="http://schemas.microsoft.com/office/drawing/2014/main" id="{A68B696A-A0F3-3004-8BD8-6D76BEC80872}"/>
                    </a:ext>
                  </a:extLst>
                </p14:cNvPr>
                <p14:cNvContentPartPr/>
                <p14:nvPr/>
              </p14:nvContentPartPr>
              <p14:xfrm>
                <a:off x="10785788" y="2593675"/>
                <a:ext cx="294480" cy="337680"/>
              </p14:xfrm>
            </p:contentPart>
          </mc:Choice>
          <mc:Fallback>
            <p:pic>
              <p:nvPicPr>
                <p:cNvPr id="188" name="Freihand 187">
                  <a:extLst>
                    <a:ext uri="{FF2B5EF4-FFF2-40B4-BE49-F238E27FC236}">
                      <a16:creationId xmlns:a16="http://schemas.microsoft.com/office/drawing/2014/main" id="{A68B696A-A0F3-3004-8BD8-6D76BEC80872}"/>
                    </a:ext>
                  </a:extLst>
                </p:cNvPr>
                <p:cNvPicPr/>
                <p:nvPr/>
              </p:nvPicPr>
              <p:blipFill>
                <a:blip r:embed="rId296"/>
                <a:stretch>
                  <a:fillRect/>
                </a:stretch>
              </p:blipFill>
              <p:spPr>
                <a:xfrm>
                  <a:off x="10767788" y="2576035"/>
                  <a:ext cx="330120" cy="37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7">
              <p14:nvContentPartPr>
                <p14:cNvPr id="190" name="Freihand 189">
                  <a:extLst>
                    <a:ext uri="{FF2B5EF4-FFF2-40B4-BE49-F238E27FC236}">
                      <a16:creationId xmlns:a16="http://schemas.microsoft.com/office/drawing/2014/main" id="{CCEE3141-6BFC-44A5-94EF-D59DA4CBFDB6}"/>
                    </a:ext>
                  </a:extLst>
                </p14:cNvPr>
                <p14:cNvContentPartPr/>
                <p14:nvPr/>
              </p14:nvContentPartPr>
              <p14:xfrm>
                <a:off x="11152628" y="2821915"/>
                <a:ext cx="228240" cy="265320"/>
              </p14:xfrm>
            </p:contentPart>
          </mc:Choice>
          <mc:Fallback>
            <p:pic>
              <p:nvPicPr>
                <p:cNvPr id="190" name="Freihand 189">
                  <a:extLst>
                    <a:ext uri="{FF2B5EF4-FFF2-40B4-BE49-F238E27FC236}">
                      <a16:creationId xmlns:a16="http://schemas.microsoft.com/office/drawing/2014/main" id="{CCEE3141-6BFC-44A5-94EF-D59DA4CBFDB6}"/>
                    </a:ext>
                  </a:extLst>
                </p:cNvPr>
                <p:cNvPicPr/>
                <p:nvPr/>
              </p:nvPicPr>
              <p:blipFill>
                <a:blip r:embed="rId298"/>
                <a:stretch>
                  <a:fillRect/>
                </a:stretch>
              </p:blipFill>
              <p:spPr>
                <a:xfrm>
                  <a:off x="11134988" y="2803915"/>
                  <a:ext cx="263880" cy="300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9">
              <p14:nvContentPartPr>
                <p14:cNvPr id="191" name="Freihand 190">
                  <a:extLst>
                    <a:ext uri="{FF2B5EF4-FFF2-40B4-BE49-F238E27FC236}">
                      <a16:creationId xmlns:a16="http://schemas.microsoft.com/office/drawing/2014/main" id="{B0CFB7AA-BF43-DDF5-0C8D-E8F68FDBE05D}"/>
                    </a:ext>
                  </a:extLst>
                </p14:cNvPr>
                <p14:cNvContentPartPr/>
                <p14:nvPr/>
              </p14:nvContentPartPr>
              <p14:xfrm>
                <a:off x="11426588" y="2755315"/>
                <a:ext cx="235440" cy="30600"/>
              </p14:xfrm>
            </p:contentPart>
          </mc:Choice>
          <mc:Fallback>
            <p:pic>
              <p:nvPicPr>
                <p:cNvPr id="191" name="Freihand 190">
                  <a:extLst>
                    <a:ext uri="{FF2B5EF4-FFF2-40B4-BE49-F238E27FC236}">
                      <a16:creationId xmlns:a16="http://schemas.microsoft.com/office/drawing/2014/main" id="{B0CFB7AA-BF43-DDF5-0C8D-E8F68FDBE05D}"/>
                    </a:ext>
                  </a:extLst>
                </p:cNvPr>
                <p:cNvPicPr/>
                <p:nvPr/>
              </p:nvPicPr>
              <p:blipFill>
                <a:blip r:embed="rId300"/>
                <a:stretch>
                  <a:fillRect/>
                </a:stretch>
              </p:blipFill>
              <p:spPr>
                <a:xfrm>
                  <a:off x="11408588" y="2737315"/>
                  <a:ext cx="271080" cy="66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1">
              <p14:nvContentPartPr>
                <p14:cNvPr id="192" name="Freihand 191">
                  <a:extLst>
                    <a:ext uri="{FF2B5EF4-FFF2-40B4-BE49-F238E27FC236}">
                      <a16:creationId xmlns:a16="http://schemas.microsoft.com/office/drawing/2014/main" id="{42EA93B0-C540-F8CD-D784-936CC540B3FC}"/>
                    </a:ext>
                  </a:extLst>
                </p14:cNvPr>
                <p14:cNvContentPartPr/>
                <p14:nvPr/>
              </p14:nvContentPartPr>
              <p14:xfrm>
                <a:off x="11519828" y="2565235"/>
                <a:ext cx="38520" cy="442080"/>
              </p14:xfrm>
            </p:contentPart>
          </mc:Choice>
          <mc:Fallback>
            <p:pic>
              <p:nvPicPr>
                <p:cNvPr id="192" name="Freihand 191">
                  <a:extLst>
                    <a:ext uri="{FF2B5EF4-FFF2-40B4-BE49-F238E27FC236}">
                      <a16:creationId xmlns:a16="http://schemas.microsoft.com/office/drawing/2014/main" id="{42EA93B0-C540-F8CD-D784-936CC540B3FC}"/>
                    </a:ext>
                  </a:extLst>
                </p:cNvPr>
                <p:cNvPicPr/>
                <p:nvPr/>
              </p:nvPicPr>
              <p:blipFill>
                <a:blip r:embed="rId302"/>
                <a:stretch>
                  <a:fillRect/>
                </a:stretch>
              </p:blipFill>
              <p:spPr>
                <a:xfrm>
                  <a:off x="11501828" y="2547595"/>
                  <a:ext cx="74160" cy="47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3">
              <p14:nvContentPartPr>
                <p14:cNvPr id="194" name="Freihand 193">
                  <a:extLst>
                    <a:ext uri="{FF2B5EF4-FFF2-40B4-BE49-F238E27FC236}">
                      <a16:creationId xmlns:a16="http://schemas.microsoft.com/office/drawing/2014/main" id="{B11DD592-6079-ABB9-1EB3-31CF93FE8FC3}"/>
                    </a:ext>
                  </a:extLst>
                </p14:cNvPr>
                <p14:cNvContentPartPr/>
                <p14:nvPr/>
              </p14:nvContentPartPr>
              <p14:xfrm>
                <a:off x="11782268" y="2420875"/>
                <a:ext cx="33480" cy="471240"/>
              </p14:xfrm>
            </p:contentPart>
          </mc:Choice>
          <mc:Fallback>
            <p:pic>
              <p:nvPicPr>
                <p:cNvPr id="194" name="Freihand 193">
                  <a:extLst>
                    <a:ext uri="{FF2B5EF4-FFF2-40B4-BE49-F238E27FC236}">
                      <a16:creationId xmlns:a16="http://schemas.microsoft.com/office/drawing/2014/main" id="{B11DD592-6079-ABB9-1EB3-31CF93FE8FC3}"/>
                    </a:ext>
                  </a:extLst>
                </p:cNvPr>
                <p:cNvPicPr/>
                <p:nvPr/>
              </p:nvPicPr>
              <p:blipFill>
                <a:blip r:embed="rId304"/>
                <a:stretch>
                  <a:fillRect/>
                </a:stretch>
              </p:blipFill>
              <p:spPr>
                <a:xfrm>
                  <a:off x="11764268" y="2402875"/>
                  <a:ext cx="69120" cy="506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5">
              <p14:nvContentPartPr>
                <p14:cNvPr id="195" name="Freihand 194">
                  <a:extLst>
                    <a:ext uri="{FF2B5EF4-FFF2-40B4-BE49-F238E27FC236}">
                      <a16:creationId xmlns:a16="http://schemas.microsoft.com/office/drawing/2014/main" id="{B696A3B6-C4C5-13F5-A883-7F8FA60381AC}"/>
                    </a:ext>
                  </a:extLst>
                </p14:cNvPr>
                <p14:cNvContentPartPr/>
                <p14:nvPr/>
              </p14:nvContentPartPr>
              <p14:xfrm>
                <a:off x="11721068" y="2618875"/>
                <a:ext cx="237240" cy="6480"/>
              </p14:xfrm>
            </p:contentPart>
          </mc:Choice>
          <mc:Fallback>
            <p:pic>
              <p:nvPicPr>
                <p:cNvPr id="195" name="Freihand 194">
                  <a:extLst>
                    <a:ext uri="{FF2B5EF4-FFF2-40B4-BE49-F238E27FC236}">
                      <a16:creationId xmlns:a16="http://schemas.microsoft.com/office/drawing/2014/main" id="{B696A3B6-C4C5-13F5-A883-7F8FA60381AC}"/>
                    </a:ext>
                  </a:extLst>
                </p:cNvPr>
                <p:cNvPicPr/>
                <p:nvPr/>
              </p:nvPicPr>
              <p:blipFill>
                <a:blip r:embed="rId306"/>
                <a:stretch>
                  <a:fillRect/>
                </a:stretch>
              </p:blipFill>
              <p:spPr>
                <a:xfrm>
                  <a:off x="11703068" y="2600875"/>
                  <a:ext cx="272880" cy="42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7">
              <p14:nvContentPartPr>
                <p14:cNvPr id="196" name="Freihand 195">
                  <a:extLst>
                    <a:ext uri="{FF2B5EF4-FFF2-40B4-BE49-F238E27FC236}">
                      <a16:creationId xmlns:a16="http://schemas.microsoft.com/office/drawing/2014/main" id="{5B235A3B-D920-9185-94CB-02A1432BF4C2}"/>
                    </a:ext>
                  </a:extLst>
                </p14:cNvPr>
                <p14:cNvContentPartPr/>
                <p14:nvPr/>
              </p14:nvContentPartPr>
              <p14:xfrm>
                <a:off x="11945348" y="2641555"/>
                <a:ext cx="49320" cy="69480"/>
              </p14:xfrm>
            </p:contentPart>
          </mc:Choice>
          <mc:Fallback>
            <p:pic>
              <p:nvPicPr>
                <p:cNvPr id="196" name="Freihand 195">
                  <a:extLst>
                    <a:ext uri="{FF2B5EF4-FFF2-40B4-BE49-F238E27FC236}">
                      <a16:creationId xmlns:a16="http://schemas.microsoft.com/office/drawing/2014/main" id="{5B235A3B-D920-9185-94CB-02A1432BF4C2}"/>
                    </a:ext>
                  </a:extLst>
                </p:cNvPr>
                <p:cNvPicPr/>
                <p:nvPr/>
              </p:nvPicPr>
              <p:blipFill>
                <a:blip r:embed="rId308"/>
                <a:stretch>
                  <a:fillRect/>
                </a:stretch>
              </p:blipFill>
              <p:spPr>
                <a:xfrm>
                  <a:off x="11927708" y="2623915"/>
                  <a:ext cx="84960" cy="105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9">
              <p14:nvContentPartPr>
                <p14:cNvPr id="197" name="Freihand 196">
                  <a:extLst>
                    <a:ext uri="{FF2B5EF4-FFF2-40B4-BE49-F238E27FC236}">
                      <a16:creationId xmlns:a16="http://schemas.microsoft.com/office/drawing/2014/main" id="{7927CB61-DE32-10E7-AB5A-76FBFF1329DC}"/>
                    </a:ext>
                  </a:extLst>
                </p14:cNvPr>
                <p14:cNvContentPartPr/>
                <p14:nvPr/>
              </p14:nvContentPartPr>
              <p14:xfrm>
                <a:off x="12072068" y="2483875"/>
                <a:ext cx="107280" cy="398160"/>
              </p14:xfrm>
            </p:contentPart>
          </mc:Choice>
          <mc:Fallback>
            <p:pic>
              <p:nvPicPr>
                <p:cNvPr id="197" name="Freihand 196">
                  <a:extLst>
                    <a:ext uri="{FF2B5EF4-FFF2-40B4-BE49-F238E27FC236}">
                      <a16:creationId xmlns:a16="http://schemas.microsoft.com/office/drawing/2014/main" id="{7927CB61-DE32-10E7-AB5A-76FBFF1329DC}"/>
                    </a:ext>
                  </a:extLst>
                </p:cNvPr>
                <p:cNvPicPr/>
                <p:nvPr/>
              </p:nvPicPr>
              <p:blipFill>
                <a:blip r:embed="rId310"/>
                <a:stretch>
                  <a:fillRect/>
                </a:stretch>
              </p:blipFill>
              <p:spPr>
                <a:xfrm>
                  <a:off x="12054068" y="2465875"/>
                  <a:ext cx="142920" cy="433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1">
              <p14:nvContentPartPr>
                <p14:cNvPr id="199" name="Freihand 198">
                  <a:extLst>
                    <a:ext uri="{FF2B5EF4-FFF2-40B4-BE49-F238E27FC236}">
                      <a16:creationId xmlns:a16="http://schemas.microsoft.com/office/drawing/2014/main" id="{04FBD09C-2662-1F01-0F63-B97D01B26558}"/>
                    </a:ext>
                  </a:extLst>
                </p14:cNvPr>
                <p14:cNvContentPartPr/>
                <p14:nvPr/>
              </p14:nvContentPartPr>
              <p14:xfrm>
                <a:off x="12109508" y="2719675"/>
                <a:ext cx="95400" cy="262080"/>
              </p14:xfrm>
            </p:contentPart>
          </mc:Choice>
          <mc:Fallback>
            <p:pic>
              <p:nvPicPr>
                <p:cNvPr id="199" name="Freihand 198">
                  <a:extLst>
                    <a:ext uri="{FF2B5EF4-FFF2-40B4-BE49-F238E27FC236}">
                      <a16:creationId xmlns:a16="http://schemas.microsoft.com/office/drawing/2014/main" id="{04FBD09C-2662-1F01-0F63-B97D01B26558}"/>
                    </a:ext>
                  </a:extLst>
                </p:cNvPr>
                <p:cNvPicPr/>
                <p:nvPr/>
              </p:nvPicPr>
              <p:blipFill>
                <a:blip r:embed="rId312"/>
                <a:stretch>
                  <a:fillRect/>
                </a:stretch>
              </p:blipFill>
              <p:spPr>
                <a:xfrm>
                  <a:off x="12091868" y="2701675"/>
                  <a:ext cx="131040" cy="297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3">
              <p14:nvContentPartPr>
                <p14:cNvPr id="205" name="Freihand 204">
                  <a:extLst>
                    <a:ext uri="{FF2B5EF4-FFF2-40B4-BE49-F238E27FC236}">
                      <a16:creationId xmlns:a16="http://schemas.microsoft.com/office/drawing/2014/main" id="{2DE0B2A3-D5B1-D314-EACF-D4D014E357DF}"/>
                    </a:ext>
                  </a:extLst>
                </p14:cNvPr>
                <p14:cNvContentPartPr/>
                <p14:nvPr/>
              </p14:nvContentPartPr>
              <p14:xfrm>
                <a:off x="11123125" y="2804718"/>
                <a:ext cx="217800" cy="342000"/>
              </p14:xfrm>
            </p:contentPart>
          </mc:Choice>
          <mc:Fallback>
            <p:pic>
              <p:nvPicPr>
                <p:cNvPr id="205" name="Freihand 204">
                  <a:extLst>
                    <a:ext uri="{FF2B5EF4-FFF2-40B4-BE49-F238E27FC236}">
                      <a16:creationId xmlns:a16="http://schemas.microsoft.com/office/drawing/2014/main" id="{2DE0B2A3-D5B1-D314-EACF-D4D014E357DF}"/>
                    </a:ext>
                  </a:extLst>
                </p:cNvPr>
                <p:cNvPicPr/>
                <p:nvPr/>
              </p:nvPicPr>
              <p:blipFill>
                <a:blip r:embed="rId314"/>
                <a:stretch>
                  <a:fillRect/>
                </a:stretch>
              </p:blipFill>
              <p:spPr>
                <a:xfrm>
                  <a:off x="11105485" y="2786718"/>
                  <a:ext cx="253440" cy="37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5">
              <p14:nvContentPartPr>
                <p14:cNvPr id="206" name="Freihand 205">
                  <a:extLst>
                    <a:ext uri="{FF2B5EF4-FFF2-40B4-BE49-F238E27FC236}">
                      <a16:creationId xmlns:a16="http://schemas.microsoft.com/office/drawing/2014/main" id="{51AA608D-F5A7-DAB9-3C5D-BEC607B3062C}"/>
                    </a:ext>
                  </a:extLst>
                </p14:cNvPr>
                <p14:cNvContentPartPr/>
                <p14:nvPr/>
              </p14:nvContentPartPr>
              <p14:xfrm>
                <a:off x="11027365" y="2438598"/>
                <a:ext cx="133560" cy="237600"/>
              </p14:xfrm>
            </p:contentPart>
          </mc:Choice>
          <mc:Fallback>
            <p:pic>
              <p:nvPicPr>
                <p:cNvPr id="206" name="Freihand 205">
                  <a:extLst>
                    <a:ext uri="{FF2B5EF4-FFF2-40B4-BE49-F238E27FC236}">
                      <a16:creationId xmlns:a16="http://schemas.microsoft.com/office/drawing/2014/main" id="{51AA608D-F5A7-DAB9-3C5D-BEC607B3062C}"/>
                    </a:ext>
                  </a:extLst>
                </p:cNvPr>
                <p:cNvPicPr/>
                <p:nvPr/>
              </p:nvPicPr>
              <p:blipFill>
                <a:blip r:embed="rId316"/>
                <a:stretch>
                  <a:fillRect/>
                </a:stretch>
              </p:blipFill>
              <p:spPr>
                <a:xfrm>
                  <a:off x="11009365" y="2420958"/>
                  <a:ext cx="169200" cy="273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7">
              <p14:nvContentPartPr>
                <p14:cNvPr id="207" name="Freihand 206">
                  <a:extLst>
                    <a:ext uri="{FF2B5EF4-FFF2-40B4-BE49-F238E27FC236}">
                      <a16:creationId xmlns:a16="http://schemas.microsoft.com/office/drawing/2014/main" id="{A3FC409D-AC72-90E0-5829-D92CF136846C}"/>
                    </a:ext>
                  </a:extLst>
                </p14:cNvPr>
                <p14:cNvContentPartPr/>
                <p14:nvPr/>
              </p14:nvContentPartPr>
              <p14:xfrm>
                <a:off x="11213125" y="2504118"/>
                <a:ext cx="75600" cy="250200"/>
              </p14:xfrm>
            </p:contentPart>
          </mc:Choice>
          <mc:Fallback>
            <p:pic>
              <p:nvPicPr>
                <p:cNvPr id="207" name="Freihand 206">
                  <a:extLst>
                    <a:ext uri="{FF2B5EF4-FFF2-40B4-BE49-F238E27FC236}">
                      <a16:creationId xmlns:a16="http://schemas.microsoft.com/office/drawing/2014/main" id="{A3FC409D-AC72-90E0-5829-D92CF136846C}"/>
                    </a:ext>
                  </a:extLst>
                </p:cNvPr>
                <p:cNvPicPr/>
                <p:nvPr/>
              </p:nvPicPr>
              <p:blipFill>
                <a:blip r:embed="rId318"/>
                <a:stretch>
                  <a:fillRect/>
                </a:stretch>
              </p:blipFill>
              <p:spPr>
                <a:xfrm>
                  <a:off x="11195485" y="2486478"/>
                  <a:ext cx="111240" cy="28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9">
              <p14:nvContentPartPr>
                <p14:cNvPr id="209" name="Freihand 208">
                  <a:extLst>
                    <a:ext uri="{FF2B5EF4-FFF2-40B4-BE49-F238E27FC236}">
                      <a16:creationId xmlns:a16="http://schemas.microsoft.com/office/drawing/2014/main" id="{7022E5C0-A7EA-FBBF-CF47-EF1BB27FE159}"/>
                    </a:ext>
                  </a:extLst>
                </p14:cNvPr>
                <p14:cNvContentPartPr/>
                <p14:nvPr/>
              </p14:nvContentPartPr>
              <p14:xfrm>
                <a:off x="10790485" y="2673318"/>
                <a:ext cx="240480" cy="262440"/>
              </p14:xfrm>
            </p:contentPart>
          </mc:Choice>
          <mc:Fallback>
            <p:pic>
              <p:nvPicPr>
                <p:cNvPr id="209" name="Freihand 208">
                  <a:extLst>
                    <a:ext uri="{FF2B5EF4-FFF2-40B4-BE49-F238E27FC236}">
                      <a16:creationId xmlns:a16="http://schemas.microsoft.com/office/drawing/2014/main" id="{7022E5C0-A7EA-FBBF-CF47-EF1BB27FE159}"/>
                    </a:ext>
                  </a:extLst>
                </p:cNvPr>
                <p:cNvPicPr/>
                <p:nvPr/>
              </p:nvPicPr>
              <p:blipFill>
                <a:blip r:embed="rId320"/>
                <a:stretch>
                  <a:fillRect/>
                </a:stretch>
              </p:blipFill>
              <p:spPr>
                <a:xfrm>
                  <a:off x="10772845" y="2655318"/>
                  <a:ext cx="276120" cy="29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1">
              <p14:nvContentPartPr>
                <p14:cNvPr id="211" name="Freihand 210">
                  <a:extLst>
                    <a:ext uri="{FF2B5EF4-FFF2-40B4-BE49-F238E27FC236}">
                      <a16:creationId xmlns:a16="http://schemas.microsoft.com/office/drawing/2014/main" id="{968E2443-3722-60EF-FBB5-43C19C9A8300}"/>
                    </a:ext>
                  </a:extLst>
                </p14:cNvPr>
                <p14:cNvContentPartPr/>
                <p14:nvPr/>
              </p14:nvContentPartPr>
              <p14:xfrm>
                <a:off x="12021685" y="2925678"/>
                <a:ext cx="154800" cy="259560"/>
              </p14:xfrm>
            </p:contentPart>
          </mc:Choice>
          <mc:Fallback>
            <p:pic>
              <p:nvPicPr>
                <p:cNvPr id="211" name="Freihand 210">
                  <a:extLst>
                    <a:ext uri="{FF2B5EF4-FFF2-40B4-BE49-F238E27FC236}">
                      <a16:creationId xmlns:a16="http://schemas.microsoft.com/office/drawing/2014/main" id="{968E2443-3722-60EF-FBB5-43C19C9A8300}"/>
                    </a:ext>
                  </a:extLst>
                </p:cNvPr>
                <p:cNvPicPr/>
                <p:nvPr/>
              </p:nvPicPr>
              <p:blipFill>
                <a:blip r:embed="rId322"/>
                <a:stretch>
                  <a:fillRect/>
                </a:stretch>
              </p:blipFill>
              <p:spPr>
                <a:xfrm>
                  <a:off x="12004045" y="2907678"/>
                  <a:ext cx="190440" cy="2952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132542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DAC7241-1A19-FAB2-6EB1-0218CD4B2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71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2A3F103-0129-3918-1FA1-9C4638D50D00}"/>
              </a:ext>
            </a:extLst>
          </p:cNvPr>
          <p:cNvGrpSpPr/>
          <p:nvPr/>
        </p:nvGrpSpPr>
        <p:grpSpPr>
          <a:xfrm>
            <a:off x="763603" y="1643175"/>
            <a:ext cx="1016280" cy="420840"/>
            <a:chOff x="763603" y="1643175"/>
            <a:chExt cx="1016280" cy="4208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">
              <p14:nvContentPartPr>
                <p14:cNvPr id="5" name="Freihand 4">
                  <a:extLst>
                    <a:ext uri="{FF2B5EF4-FFF2-40B4-BE49-F238E27FC236}">
                      <a16:creationId xmlns:a16="http://schemas.microsoft.com/office/drawing/2014/main" id="{4FF4AF04-EB42-A5D3-F673-3531E3D39981}"/>
                    </a:ext>
                  </a:extLst>
                </p14:cNvPr>
                <p14:cNvContentPartPr/>
                <p14:nvPr/>
              </p14:nvContentPartPr>
              <p14:xfrm>
                <a:off x="763603" y="1657215"/>
                <a:ext cx="102240" cy="345600"/>
              </p14:xfrm>
            </p:contentPart>
          </mc:Choice>
          <mc:Fallback>
            <p:pic>
              <p:nvPicPr>
                <p:cNvPr id="5" name="Freihand 4">
                  <a:extLst>
                    <a:ext uri="{FF2B5EF4-FFF2-40B4-BE49-F238E27FC236}">
                      <a16:creationId xmlns:a16="http://schemas.microsoft.com/office/drawing/2014/main" id="{4FF4AF04-EB42-A5D3-F673-3531E3D39981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745963" y="1639575"/>
                  <a:ext cx="137880" cy="381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">
              <p14:nvContentPartPr>
                <p14:cNvPr id="6" name="Freihand 5">
                  <a:extLst>
                    <a:ext uri="{FF2B5EF4-FFF2-40B4-BE49-F238E27FC236}">
                      <a16:creationId xmlns:a16="http://schemas.microsoft.com/office/drawing/2014/main" id="{D199D3CE-0D22-D532-EF08-5288F05E6E5E}"/>
                    </a:ext>
                  </a:extLst>
                </p14:cNvPr>
                <p14:cNvContentPartPr/>
                <p14:nvPr/>
              </p14:nvContentPartPr>
              <p14:xfrm>
                <a:off x="870883" y="1699335"/>
                <a:ext cx="110880" cy="223200"/>
              </p14:xfrm>
            </p:contentPart>
          </mc:Choice>
          <mc:Fallback>
            <p:pic>
              <p:nvPicPr>
                <p:cNvPr id="6" name="Freihand 5">
                  <a:extLst>
                    <a:ext uri="{FF2B5EF4-FFF2-40B4-BE49-F238E27FC236}">
                      <a16:creationId xmlns:a16="http://schemas.microsoft.com/office/drawing/2014/main" id="{D199D3CE-0D22-D532-EF08-5288F05E6E5E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853243" y="1681335"/>
                  <a:ext cx="146520" cy="25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">
              <p14:nvContentPartPr>
                <p14:cNvPr id="7" name="Freihand 6">
                  <a:extLst>
                    <a:ext uri="{FF2B5EF4-FFF2-40B4-BE49-F238E27FC236}">
                      <a16:creationId xmlns:a16="http://schemas.microsoft.com/office/drawing/2014/main" id="{CC7143BD-3552-9884-A032-B3DEFB0B0D1E}"/>
                    </a:ext>
                  </a:extLst>
                </p14:cNvPr>
                <p14:cNvContentPartPr/>
                <p14:nvPr/>
              </p14:nvContentPartPr>
              <p14:xfrm>
                <a:off x="1030003" y="1812735"/>
                <a:ext cx="90720" cy="23040"/>
              </p14:xfrm>
            </p:contentPart>
          </mc:Choice>
          <mc:Fallback>
            <p:pic>
              <p:nvPicPr>
                <p:cNvPr id="7" name="Freihand 6">
                  <a:extLst>
                    <a:ext uri="{FF2B5EF4-FFF2-40B4-BE49-F238E27FC236}">
                      <a16:creationId xmlns:a16="http://schemas.microsoft.com/office/drawing/2014/main" id="{CC7143BD-3552-9884-A032-B3DEFB0B0D1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012363" y="1795095"/>
                  <a:ext cx="126360" cy="58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8" name="Freihand 7">
                  <a:extLst>
                    <a:ext uri="{FF2B5EF4-FFF2-40B4-BE49-F238E27FC236}">
                      <a16:creationId xmlns:a16="http://schemas.microsoft.com/office/drawing/2014/main" id="{318ECE93-B64C-8FF0-BA12-F8492F478973}"/>
                    </a:ext>
                  </a:extLst>
                </p14:cNvPr>
                <p14:cNvContentPartPr/>
                <p14:nvPr/>
              </p14:nvContentPartPr>
              <p14:xfrm>
                <a:off x="1199923" y="1674855"/>
                <a:ext cx="64440" cy="268200"/>
              </p14:xfrm>
            </p:contentPart>
          </mc:Choice>
          <mc:Fallback>
            <p:pic>
              <p:nvPicPr>
                <p:cNvPr id="8" name="Freihand 7">
                  <a:extLst>
                    <a:ext uri="{FF2B5EF4-FFF2-40B4-BE49-F238E27FC236}">
                      <a16:creationId xmlns:a16="http://schemas.microsoft.com/office/drawing/2014/main" id="{318ECE93-B64C-8FF0-BA12-F8492F478973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182283" y="1656855"/>
                  <a:ext cx="100080" cy="30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9" name="Freihand 8">
                  <a:extLst>
                    <a:ext uri="{FF2B5EF4-FFF2-40B4-BE49-F238E27FC236}">
                      <a16:creationId xmlns:a16="http://schemas.microsoft.com/office/drawing/2014/main" id="{FE98C8B0-F77E-38FE-5DDE-E1C9CF21E2AA}"/>
                    </a:ext>
                  </a:extLst>
                </p14:cNvPr>
                <p14:cNvContentPartPr/>
                <p14:nvPr/>
              </p14:nvContentPartPr>
              <p14:xfrm>
                <a:off x="1154563" y="1758015"/>
                <a:ext cx="140400" cy="58680"/>
              </p14:xfrm>
            </p:contentPart>
          </mc:Choice>
          <mc:Fallback>
            <p:pic>
              <p:nvPicPr>
                <p:cNvPr id="9" name="Freihand 8">
                  <a:extLst>
                    <a:ext uri="{FF2B5EF4-FFF2-40B4-BE49-F238E27FC236}">
                      <a16:creationId xmlns:a16="http://schemas.microsoft.com/office/drawing/2014/main" id="{FE98C8B0-F77E-38FE-5DDE-E1C9CF21E2AA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136923" y="1740375"/>
                  <a:ext cx="176040" cy="94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10" name="Freihand 9">
                  <a:extLst>
                    <a:ext uri="{FF2B5EF4-FFF2-40B4-BE49-F238E27FC236}">
                      <a16:creationId xmlns:a16="http://schemas.microsoft.com/office/drawing/2014/main" id="{3D5A3AD8-1B24-82EB-53FA-CC3E8DA020E3}"/>
                    </a:ext>
                  </a:extLst>
                </p14:cNvPr>
                <p14:cNvContentPartPr/>
                <p14:nvPr/>
              </p14:nvContentPartPr>
              <p14:xfrm>
                <a:off x="1273003" y="1814175"/>
                <a:ext cx="102960" cy="168120"/>
              </p14:xfrm>
            </p:contentPart>
          </mc:Choice>
          <mc:Fallback>
            <p:pic>
              <p:nvPicPr>
                <p:cNvPr id="10" name="Freihand 9">
                  <a:extLst>
                    <a:ext uri="{FF2B5EF4-FFF2-40B4-BE49-F238E27FC236}">
                      <a16:creationId xmlns:a16="http://schemas.microsoft.com/office/drawing/2014/main" id="{3D5A3AD8-1B24-82EB-53FA-CC3E8DA020E3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255363" y="1796175"/>
                  <a:ext cx="138600" cy="20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11" name="Freihand 10">
                  <a:extLst>
                    <a:ext uri="{FF2B5EF4-FFF2-40B4-BE49-F238E27FC236}">
                      <a16:creationId xmlns:a16="http://schemas.microsoft.com/office/drawing/2014/main" id="{45C76814-2BF8-3DC4-6279-F0646BB39471}"/>
                    </a:ext>
                  </a:extLst>
                </p14:cNvPr>
                <p14:cNvContentPartPr/>
                <p14:nvPr/>
              </p14:nvContentPartPr>
              <p14:xfrm>
                <a:off x="1496563" y="1643175"/>
                <a:ext cx="99360" cy="420840"/>
              </p14:xfrm>
            </p:contentPart>
          </mc:Choice>
          <mc:Fallback>
            <p:pic>
              <p:nvPicPr>
                <p:cNvPr id="11" name="Freihand 10">
                  <a:extLst>
                    <a:ext uri="{FF2B5EF4-FFF2-40B4-BE49-F238E27FC236}">
                      <a16:creationId xmlns:a16="http://schemas.microsoft.com/office/drawing/2014/main" id="{45C76814-2BF8-3DC4-6279-F0646BB39471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478923" y="1625535"/>
                  <a:ext cx="135000" cy="45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12" name="Freihand 11">
                  <a:extLst>
                    <a:ext uri="{FF2B5EF4-FFF2-40B4-BE49-F238E27FC236}">
                      <a16:creationId xmlns:a16="http://schemas.microsoft.com/office/drawing/2014/main" id="{95A8A1CC-7ACC-75D6-49BC-41F636F809CB}"/>
                    </a:ext>
                  </a:extLst>
                </p14:cNvPr>
                <p14:cNvContentPartPr/>
                <p14:nvPr/>
              </p14:nvContentPartPr>
              <p14:xfrm>
                <a:off x="1726603" y="1805895"/>
                <a:ext cx="53280" cy="39960"/>
              </p14:xfrm>
            </p:contentPart>
          </mc:Choice>
          <mc:Fallback>
            <p:pic>
              <p:nvPicPr>
                <p:cNvPr id="12" name="Freihand 11">
                  <a:extLst>
                    <a:ext uri="{FF2B5EF4-FFF2-40B4-BE49-F238E27FC236}">
                      <a16:creationId xmlns:a16="http://schemas.microsoft.com/office/drawing/2014/main" id="{95A8A1CC-7ACC-75D6-49BC-41F636F809CB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1708603" y="1787895"/>
                  <a:ext cx="88920" cy="75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6C74769-1F8C-BBF6-E377-252820AB31E6}"/>
              </a:ext>
            </a:extLst>
          </p:cNvPr>
          <p:cNvGrpSpPr/>
          <p:nvPr/>
        </p:nvGrpSpPr>
        <p:grpSpPr>
          <a:xfrm>
            <a:off x="1974643" y="1480095"/>
            <a:ext cx="854640" cy="545400"/>
            <a:chOff x="1974643" y="1480095"/>
            <a:chExt cx="854640" cy="5454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1">
              <p14:nvContentPartPr>
                <p14:cNvPr id="13" name="Freihand 12">
                  <a:extLst>
                    <a:ext uri="{FF2B5EF4-FFF2-40B4-BE49-F238E27FC236}">
                      <a16:creationId xmlns:a16="http://schemas.microsoft.com/office/drawing/2014/main" id="{356B8818-354A-F196-C5FD-A52CC33D63D8}"/>
                    </a:ext>
                  </a:extLst>
                </p14:cNvPr>
                <p14:cNvContentPartPr/>
                <p14:nvPr/>
              </p14:nvContentPartPr>
              <p14:xfrm>
                <a:off x="1974643" y="1480095"/>
                <a:ext cx="128520" cy="545400"/>
              </p14:xfrm>
            </p:contentPart>
          </mc:Choice>
          <mc:Fallback>
            <p:pic>
              <p:nvPicPr>
                <p:cNvPr id="13" name="Freihand 12">
                  <a:extLst>
                    <a:ext uri="{FF2B5EF4-FFF2-40B4-BE49-F238E27FC236}">
                      <a16:creationId xmlns:a16="http://schemas.microsoft.com/office/drawing/2014/main" id="{356B8818-354A-F196-C5FD-A52CC33D63D8}"/>
                    </a:ext>
                  </a:extLst>
                </p:cNvPr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1956643" y="1462455"/>
                  <a:ext cx="164160" cy="58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">
              <p14:nvContentPartPr>
                <p14:cNvPr id="15" name="Freihand 14">
                  <a:extLst>
                    <a:ext uri="{FF2B5EF4-FFF2-40B4-BE49-F238E27FC236}">
                      <a16:creationId xmlns:a16="http://schemas.microsoft.com/office/drawing/2014/main" id="{DA995F0E-0E40-0FEC-0A91-CA7D46B88E29}"/>
                    </a:ext>
                  </a:extLst>
                </p14:cNvPr>
                <p14:cNvContentPartPr/>
                <p14:nvPr/>
              </p14:nvContentPartPr>
              <p14:xfrm>
                <a:off x="2123683" y="1575135"/>
                <a:ext cx="150480" cy="405720"/>
              </p14:xfrm>
            </p:contentPart>
          </mc:Choice>
          <mc:Fallback>
            <p:pic>
              <p:nvPicPr>
                <p:cNvPr id="15" name="Freihand 14">
                  <a:extLst>
                    <a:ext uri="{FF2B5EF4-FFF2-40B4-BE49-F238E27FC236}">
                      <a16:creationId xmlns:a16="http://schemas.microsoft.com/office/drawing/2014/main" id="{DA995F0E-0E40-0FEC-0A91-CA7D46B88E29}"/>
                    </a:ext>
                  </a:extLst>
                </p:cNvPr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2105683" y="1557495"/>
                  <a:ext cx="186120" cy="441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">
              <p14:nvContentPartPr>
                <p14:cNvPr id="16" name="Freihand 15">
                  <a:extLst>
                    <a:ext uri="{FF2B5EF4-FFF2-40B4-BE49-F238E27FC236}">
                      <a16:creationId xmlns:a16="http://schemas.microsoft.com/office/drawing/2014/main" id="{1D36968C-1355-6F87-A942-FCE5CB6E39C0}"/>
                    </a:ext>
                  </a:extLst>
                </p14:cNvPr>
                <p14:cNvContentPartPr/>
                <p14:nvPr/>
              </p14:nvContentPartPr>
              <p14:xfrm>
                <a:off x="2275603" y="1602135"/>
                <a:ext cx="126720" cy="234720"/>
              </p14:xfrm>
            </p:contentPart>
          </mc:Choice>
          <mc:Fallback>
            <p:pic>
              <p:nvPicPr>
                <p:cNvPr id="16" name="Freihand 15">
                  <a:extLst>
                    <a:ext uri="{FF2B5EF4-FFF2-40B4-BE49-F238E27FC236}">
                      <a16:creationId xmlns:a16="http://schemas.microsoft.com/office/drawing/2014/main" id="{1D36968C-1355-6F87-A942-FCE5CB6E39C0}"/>
                    </a:ext>
                  </a:extLst>
                </p:cNvPr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2257963" y="1584495"/>
                  <a:ext cx="162360" cy="270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">
              <p14:nvContentPartPr>
                <p14:cNvPr id="17" name="Freihand 16">
                  <a:extLst>
                    <a:ext uri="{FF2B5EF4-FFF2-40B4-BE49-F238E27FC236}">
                      <a16:creationId xmlns:a16="http://schemas.microsoft.com/office/drawing/2014/main" id="{D2244CB9-F8A5-0B00-DE39-F6473E7F50FF}"/>
                    </a:ext>
                  </a:extLst>
                </p14:cNvPr>
                <p14:cNvContentPartPr/>
                <p14:nvPr/>
              </p14:nvContentPartPr>
              <p14:xfrm>
                <a:off x="2445523" y="1731375"/>
                <a:ext cx="74520" cy="25200"/>
              </p14:xfrm>
            </p:contentPart>
          </mc:Choice>
          <mc:Fallback>
            <p:pic>
              <p:nvPicPr>
                <p:cNvPr id="17" name="Freihand 16">
                  <a:extLst>
                    <a:ext uri="{FF2B5EF4-FFF2-40B4-BE49-F238E27FC236}">
                      <a16:creationId xmlns:a16="http://schemas.microsoft.com/office/drawing/2014/main" id="{D2244CB9-F8A5-0B00-DE39-F6473E7F50FF}"/>
                    </a:ext>
                  </a:extLst>
                </p:cNvPr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2427883" y="1713375"/>
                  <a:ext cx="110160" cy="60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">
              <p14:nvContentPartPr>
                <p14:cNvPr id="18" name="Freihand 17">
                  <a:extLst>
                    <a:ext uri="{FF2B5EF4-FFF2-40B4-BE49-F238E27FC236}">
                      <a16:creationId xmlns:a16="http://schemas.microsoft.com/office/drawing/2014/main" id="{3575EE4D-3B59-7D49-1EA6-CB847A7B94F1}"/>
                    </a:ext>
                  </a:extLst>
                </p14:cNvPr>
                <p14:cNvContentPartPr/>
                <p14:nvPr/>
              </p14:nvContentPartPr>
              <p14:xfrm>
                <a:off x="2594563" y="1570095"/>
                <a:ext cx="41760" cy="266760"/>
              </p14:xfrm>
            </p:contentPart>
          </mc:Choice>
          <mc:Fallback>
            <p:pic>
              <p:nvPicPr>
                <p:cNvPr id="18" name="Freihand 17">
                  <a:extLst>
                    <a:ext uri="{FF2B5EF4-FFF2-40B4-BE49-F238E27FC236}">
                      <a16:creationId xmlns:a16="http://schemas.microsoft.com/office/drawing/2014/main" id="{3575EE4D-3B59-7D49-1EA6-CB847A7B94F1}"/>
                    </a:ext>
                  </a:extLst>
                </p:cNvPr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2576923" y="1552455"/>
                  <a:ext cx="77400" cy="302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">
              <p14:nvContentPartPr>
                <p14:cNvPr id="19" name="Freihand 18">
                  <a:extLst>
                    <a:ext uri="{FF2B5EF4-FFF2-40B4-BE49-F238E27FC236}">
                      <a16:creationId xmlns:a16="http://schemas.microsoft.com/office/drawing/2014/main" id="{2522F3C8-B4CA-9F7F-F39F-A9E37962CDAA}"/>
                    </a:ext>
                  </a:extLst>
                </p14:cNvPr>
                <p14:cNvContentPartPr/>
                <p14:nvPr/>
              </p14:nvContentPartPr>
              <p14:xfrm>
                <a:off x="2570083" y="1658655"/>
                <a:ext cx="123840" cy="42840"/>
              </p14:xfrm>
            </p:contentPart>
          </mc:Choice>
          <mc:Fallback>
            <p:pic>
              <p:nvPicPr>
                <p:cNvPr id="19" name="Freihand 18">
                  <a:extLst>
                    <a:ext uri="{FF2B5EF4-FFF2-40B4-BE49-F238E27FC236}">
                      <a16:creationId xmlns:a16="http://schemas.microsoft.com/office/drawing/2014/main" id="{2522F3C8-B4CA-9F7F-F39F-A9E37962CDAA}"/>
                    </a:ext>
                  </a:extLst>
                </p:cNvPr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2552443" y="1641015"/>
                  <a:ext cx="159480" cy="7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">
              <p14:nvContentPartPr>
                <p14:cNvPr id="21" name="Freihand 20">
                  <a:extLst>
                    <a:ext uri="{FF2B5EF4-FFF2-40B4-BE49-F238E27FC236}">
                      <a16:creationId xmlns:a16="http://schemas.microsoft.com/office/drawing/2014/main" id="{3B5B8B73-8505-DBA0-40BA-58BBA3A44EAB}"/>
                    </a:ext>
                  </a:extLst>
                </p14:cNvPr>
                <p14:cNvContentPartPr/>
                <p14:nvPr/>
              </p14:nvContentPartPr>
              <p14:xfrm>
                <a:off x="2758723" y="1537335"/>
                <a:ext cx="70560" cy="343800"/>
              </p14:xfrm>
            </p:contentPart>
          </mc:Choice>
          <mc:Fallback>
            <p:pic>
              <p:nvPicPr>
                <p:cNvPr id="21" name="Freihand 20">
                  <a:extLst>
                    <a:ext uri="{FF2B5EF4-FFF2-40B4-BE49-F238E27FC236}">
                      <a16:creationId xmlns:a16="http://schemas.microsoft.com/office/drawing/2014/main" id="{3B5B8B73-8505-DBA0-40BA-58BBA3A44EAB}"/>
                    </a:ext>
                  </a:extLst>
                </p:cNvPr>
                <p:cNvPicPr/>
                <p:nvPr/>
              </p:nvPicPr>
              <p:blipFill>
                <a:blip r:embed="rId34"/>
                <a:stretch>
                  <a:fillRect/>
                </a:stretch>
              </p:blipFill>
              <p:spPr>
                <a:xfrm>
                  <a:off x="2740723" y="1519335"/>
                  <a:ext cx="106200" cy="37944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35">
            <p14:nvContentPartPr>
              <p14:cNvPr id="23" name="Freihand 22">
                <a:extLst>
                  <a:ext uri="{FF2B5EF4-FFF2-40B4-BE49-F238E27FC236}">
                    <a16:creationId xmlns:a16="http://schemas.microsoft.com/office/drawing/2014/main" id="{5D4C12E8-4F12-7E6A-393C-434E5B22F6A9}"/>
                  </a:ext>
                </a:extLst>
              </p14:cNvPr>
              <p14:cNvContentPartPr/>
              <p14:nvPr/>
            </p14:nvContentPartPr>
            <p14:xfrm>
              <a:off x="2934043" y="1684215"/>
              <a:ext cx="36360" cy="27720"/>
            </p14:xfrm>
          </p:contentPart>
        </mc:Choice>
        <mc:Fallback>
          <p:pic>
            <p:nvPicPr>
              <p:cNvPr id="23" name="Freihand 22">
                <a:extLst>
                  <a:ext uri="{FF2B5EF4-FFF2-40B4-BE49-F238E27FC236}">
                    <a16:creationId xmlns:a16="http://schemas.microsoft.com/office/drawing/2014/main" id="{5D4C12E8-4F12-7E6A-393C-434E5B22F6A9}"/>
                  </a:ext>
                </a:extLst>
              </p:cNvPr>
              <p:cNvPicPr/>
              <p:nvPr/>
            </p:nvPicPr>
            <p:blipFill>
              <a:blip r:embed="rId36"/>
              <a:stretch>
                <a:fillRect/>
              </a:stretch>
            </p:blipFill>
            <p:spPr>
              <a:xfrm>
                <a:off x="2916403" y="1666575"/>
                <a:ext cx="72000" cy="63360"/>
              </a:xfrm>
              <a:prstGeom prst="rect">
                <a:avLst/>
              </a:prstGeom>
            </p:spPr>
          </p:pic>
        </mc:Fallback>
      </mc:AlternateContent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A638CF18-4099-48BB-6905-EB3AFA71C1D7}"/>
              </a:ext>
            </a:extLst>
          </p:cNvPr>
          <p:cNvGrpSpPr/>
          <p:nvPr/>
        </p:nvGrpSpPr>
        <p:grpSpPr>
          <a:xfrm>
            <a:off x="3121963" y="1557135"/>
            <a:ext cx="543240" cy="238320"/>
            <a:chOff x="3121963" y="1557135"/>
            <a:chExt cx="543240" cy="238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7">
              <p14:nvContentPartPr>
                <p14:cNvPr id="24" name="Freihand 23">
                  <a:extLst>
                    <a:ext uri="{FF2B5EF4-FFF2-40B4-BE49-F238E27FC236}">
                      <a16:creationId xmlns:a16="http://schemas.microsoft.com/office/drawing/2014/main" id="{B5FB534C-C34F-920E-0086-831575C9F85E}"/>
                    </a:ext>
                  </a:extLst>
                </p14:cNvPr>
                <p14:cNvContentPartPr/>
                <p14:nvPr/>
              </p14:nvContentPartPr>
              <p14:xfrm>
                <a:off x="3121963" y="1557135"/>
                <a:ext cx="110520" cy="216000"/>
              </p14:xfrm>
            </p:contentPart>
          </mc:Choice>
          <mc:Fallback>
            <p:pic>
              <p:nvPicPr>
                <p:cNvPr id="24" name="Freihand 23">
                  <a:extLst>
                    <a:ext uri="{FF2B5EF4-FFF2-40B4-BE49-F238E27FC236}">
                      <a16:creationId xmlns:a16="http://schemas.microsoft.com/office/drawing/2014/main" id="{B5FB534C-C34F-920E-0086-831575C9F85E}"/>
                    </a:ext>
                  </a:extLst>
                </p:cNvPr>
                <p:cNvPicPr/>
                <p:nvPr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3104323" y="1539495"/>
                  <a:ext cx="146160" cy="251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9">
              <p14:nvContentPartPr>
                <p14:cNvPr id="25" name="Freihand 24">
                  <a:extLst>
                    <a:ext uri="{FF2B5EF4-FFF2-40B4-BE49-F238E27FC236}">
                      <a16:creationId xmlns:a16="http://schemas.microsoft.com/office/drawing/2014/main" id="{C24AF9AF-CB86-7910-C4F8-C077CA38F1DB}"/>
                    </a:ext>
                  </a:extLst>
                </p14:cNvPr>
                <p14:cNvContentPartPr/>
                <p14:nvPr/>
              </p14:nvContentPartPr>
              <p14:xfrm>
                <a:off x="3294763" y="1689255"/>
                <a:ext cx="85320" cy="106200"/>
              </p14:xfrm>
            </p:contentPart>
          </mc:Choice>
          <mc:Fallback>
            <p:pic>
              <p:nvPicPr>
                <p:cNvPr id="25" name="Freihand 24">
                  <a:extLst>
                    <a:ext uri="{FF2B5EF4-FFF2-40B4-BE49-F238E27FC236}">
                      <a16:creationId xmlns:a16="http://schemas.microsoft.com/office/drawing/2014/main" id="{C24AF9AF-CB86-7910-C4F8-C077CA38F1DB}"/>
                    </a:ext>
                  </a:extLst>
                </p:cNvPr>
                <p:cNvPicPr/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3277123" y="1671255"/>
                  <a:ext cx="120960" cy="141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1">
              <p14:nvContentPartPr>
                <p14:cNvPr id="27" name="Freihand 26">
                  <a:extLst>
                    <a:ext uri="{FF2B5EF4-FFF2-40B4-BE49-F238E27FC236}">
                      <a16:creationId xmlns:a16="http://schemas.microsoft.com/office/drawing/2014/main" id="{6EFA5573-06B4-D66A-3FFE-0FD0C85B1237}"/>
                    </a:ext>
                  </a:extLst>
                </p14:cNvPr>
                <p14:cNvContentPartPr/>
                <p14:nvPr/>
              </p14:nvContentPartPr>
              <p14:xfrm>
                <a:off x="3528043" y="1674135"/>
                <a:ext cx="137160" cy="13680"/>
              </p14:xfrm>
            </p:contentPart>
          </mc:Choice>
          <mc:Fallback>
            <p:pic>
              <p:nvPicPr>
                <p:cNvPr id="27" name="Freihand 26">
                  <a:extLst>
                    <a:ext uri="{FF2B5EF4-FFF2-40B4-BE49-F238E27FC236}">
                      <a16:creationId xmlns:a16="http://schemas.microsoft.com/office/drawing/2014/main" id="{6EFA5573-06B4-D66A-3FFE-0FD0C85B1237}"/>
                    </a:ext>
                  </a:extLst>
                </p:cNvPr>
                <p:cNvPicPr/>
                <p:nvPr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3510043" y="1656495"/>
                  <a:ext cx="172800" cy="49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3">
              <p14:nvContentPartPr>
                <p14:cNvPr id="28" name="Freihand 27">
                  <a:extLst>
                    <a:ext uri="{FF2B5EF4-FFF2-40B4-BE49-F238E27FC236}">
                      <a16:creationId xmlns:a16="http://schemas.microsoft.com/office/drawing/2014/main" id="{FE99EBD1-E62A-B315-F3F3-BCCC462D18FE}"/>
                    </a:ext>
                  </a:extLst>
                </p14:cNvPr>
                <p14:cNvContentPartPr/>
                <p14:nvPr/>
              </p14:nvContentPartPr>
              <p14:xfrm>
                <a:off x="3578803" y="1580895"/>
                <a:ext cx="17280" cy="172440"/>
              </p14:xfrm>
            </p:contentPart>
          </mc:Choice>
          <mc:Fallback>
            <p:pic>
              <p:nvPicPr>
                <p:cNvPr id="28" name="Freihand 27">
                  <a:extLst>
                    <a:ext uri="{FF2B5EF4-FFF2-40B4-BE49-F238E27FC236}">
                      <a16:creationId xmlns:a16="http://schemas.microsoft.com/office/drawing/2014/main" id="{FE99EBD1-E62A-B315-F3F3-BCCC462D18FE}"/>
                    </a:ext>
                  </a:extLst>
                </p:cNvPr>
                <p:cNvPicPr/>
                <p:nvPr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3560803" y="1562895"/>
                  <a:ext cx="52920" cy="208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9C46E34D-26BC-9C28-A4EB-BD5B11124F6A}"/>
              </a:ext>
            </a:extLst>
          </p:cNvPr>
          <p:cNvGrpSpPr/>
          <p:nvPr/>
        </p:nvGrpSpPr>
        <p:grpSpPr>
          <a:xfrm>
            <a:off x="6381043" y="1315575"/>
            <a:ext cx="511920" cy="295560"/>
            <a:chOff x="6381043" y="1315575"/>
            <a:chExt cx="511920" cy="2955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5">
              <p14:nvContentPartPr>
                <p14:cNvPr id="53" name="Freihand 52">
                  <a:extLst>
                    <a:ext uri="{FF2B5EF4-FFF2-40B4-BE49-F238E27FC236}">
                      <a16:creationId xmlns:a16="http://schemas.microsoft.com/office/drawing/2014/main" id="{0127F3D3-12EC-97FF-2FE1-48DBEC2ADFEC}"/>
                    </a:ext>
                  </a:extLst>
                </p14:cNvPr>
                <p14:cNvContentPartPr/>
                <p14:nvPr/>
              </p14:nvContentPartPr>
              <p14:xfrm>
                <a:off x="6381043" y="1315575"/>
                <a:ext cx="115200" cy="264960"/>
              </p14:xfrm>
            </p:contentPart>
          </mc:Choice>
          <mc:Fallback>
            <p:pic>
              <p:nvPicPr>
                <p:cNvPr id="53" name="Freihand 52">
                  <a:extLst>
                    <a:ext uri="{FF2B5EF4-FFF2-40B4-BE49-F238E27FC236}">
                      <a16:creationId xmlns:a16="http://schemas.microsoft.com/office/drawing/2014/main" id="{0127F3D3-12EC-97FF-2FE1-48DBEC2ADFEC}"/>
                    </a:ext>
                  </a:extLst>
                </p:cNvPr>
                <p:cNvPicPr/>
                <p:nvPr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6363043" y="1297935"/>
                  <a:ext cx="150840" cy="300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7">
              <p14:nvContentPartPr>
                <p14:cNvPr id="54" name="Freihand 53">
                  <a:extLst>
                    <a:ext uri="{FF2B5EF4-FFF2-40B4-BE49-F238E27FC236}">
                      <a16:creationId xmlns:a16="http://schemas.microsoft.com/office/drawing/2014/main" id="{C0664D80-7F98-6FEA-2785-652D7C90411C}"/>
                    </a:ext>
                  </a:extLst>
                </p14:cNvPr>
                <p14:cNvContentPartPr/>
                <p14:nvPr/>
              </p14:nvContentPartPr>
              <p14:xfrm>
                <a:off x="6538363" y="1441935"/>
                <a:ext cx="113400" cy="154800"/>
              </p14:xfrm>
            </p:contentPart>
          </mc:Choice>
          <mc:Fallback>
            <p:pic>
              <p:nvPicPr>
                <p:cNvPr id="54" name="Freihand 53">
                  <a:extLst>
                    <a:ext uri="{FF2B5EF4-FFF2-40B4-BE49-F238E27FC236}">
                      <a16:creationId xmlns:a16="http://schemas.microsoft.com/office/drawing/2014/main" id="{C0664D80-7F98-6FEA-2785-652D7C90411C}"/>
                    </a:ext>
                  </a:extLst>
                </p:cNvPr>
                <p:cNvPicPr/>
                <p:nvPr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6520363" y="1423935"/>
                  <a:ext cx="149040" cy="190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9">
              <p14:nvContentPartPr>
                <p14:cNvPr id="57" name="Freihand 56">
                  <a:extLst>
                    <a:ext uri="{FF2B5EF4-FFF2-40B4-BE49-F238E27FC236}">
                      <a16:creationId xmlns:a16="http://schemas.microsoft.com/office/drawing/2014/main" id="{2C1D0241-EA53-5256-EBBC-942ECE1AD793}"/>
                    </a:ext>
                  </a:extLst>
                </p14:cNvPr>
                <p14:cNvContentPartPr/>
                <p14:nvPr/>
              </p14:nvContentPartPr>
              <p14:xfrm>
                <a:off x="6769483" y="1451655"/>
                <a:ext cx="123480" cy="24840"/>
              </p14:xfrm>
            </p:contentPart>
          </mc:Choice>
          <mc:Fallback>
            <p:pic>
              <p:nvPicPr>
                <p:cNvPr id="57" name="Freihand 56">
                  <a:extLst>
                    <a:ext uri="{FF2B5EF4-FFF2-40B4-BE49-F238E27FC236}">
                      <a16:creationId xmlns:a16="http://schemas.microsoft.com/office/drawing/2014/main" id="{2C1D0241-EA53-5256-EBBC-942ECE1AD793}"/>
                    </a:ext>
                  </a:extLst>
                </p:cNvPr>
                <p:cNvPicPr/>
                <p:nvPr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6751843" y="1434015"/>
                  <a:ext cx="15912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1">
              <p14:nvContentPartPr>
                <p14:cNvPr id="58" name="Freihand 57">
                  <a:extLst>
                    <a:ext uri="{FF2B5EF4-FFF2-40B4-BE49-F238E27FC236}">
                      <a16:creationId xmlns:a16="http://schemas.microsoft.com/office/drawing/2014/main" id="{DACC16FD-CFFA-1BAF-858C-E6595B927305}"/>
                    </a:ext>
                  </a:extLst>
                </p14:cNvPr>
                <p14:cNvContentPartPr/>
                <p14:nvPr/>
              </p14:nvContentPartPr>
              <p14:xfrm>
                <a:off x="6833563" y="1356975"/>
                <a:ext cx="28800" cy="254160"/>
              </p14:xfrm>
            </p:contentPart>
          </mc:Choice>
          <mc:Fallback>
            <p:pic>
              <p:nvPicPr>
                <p:cNvPr id="58" name="Freihand 57">
                  <a:extLst>
                    <a:ext uri="{FF2B5EF4-FFF2-40B4-BE49-F238E27FC236}">
                      <a16:creationId xmlns:a16="http://schemas.microsoft.com/office/drawing/2014/main" id="{DACC16FD-CFFA-1BAF-858C-E6595B927305}"/>
                    </a:ext>
                  </a:extLst>
                </p:cNvPr>
                <p:cNvPicPr/>
                <p:nvPr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6815563" y="1338975"/>
                  <a:ext cx="64440" cy="2898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8DDDBAC5-5766-96EB-E5DB-120A6D65A3B4}"/>
              </a:ext>
            </a:extLst>
          </p:cNvPr>
          <p:cNvGrpSpPr/>
          <p:nvPr/>
        </p:nvGrpSpPr>
        <p:grpSpPr>
          <a:xfrm>
            <a:off x="7079443" y="1286415"/>
            <a:ext cx="612360" cy="347040"/>
            <a:chOff x="7079443" y="1286415"/>
            <a:chExt cx="612360" cy="347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53">
              <p14:nvContentPartPr>
                <p14:cNvPr id="59" name="Freihand 58">
                  <a:extLst>
                    <a:ext uri="{FF2B5EF4-FFF2-40B4-BE49-F238E27FC236}">
                      <a16:creationId xmlns:a16="http://schemas.microsoft.com/office/drawing/2014/main" id="{8810E09B-AD5D-7B35-3545-8787D46F73E6}"/>
                    </a:ext>
                  </a:extLst>
                </p14:cNvPr>
                <p14:cNvContentPartPr/>
                <p14:nvPr/>
              </p14:nvContentPartPr>
              <p14:xfrm>
                <a:off x="7134163" y="1286415"/>
                <a:ext cx="12600" cy="253080"/>
              </p14:xfrm>
            </p:contentPart>
          </mc:Choice>
          <mc:Fallback>
            <p:pic>
              <p:nvPicPr>
                <p:cNvPr id="59" name="Freihand 58">
                  <a:extLst>
                    <a:ext uri="{FF2B5EF4-FFF2-40B4-BE49-F238E27FC236}">
                      <a16:creationId xmlns:a16="http://schemas.microsoft.com/office/drawing/2014/main" id="{8810E09B-AD5D-7B35-3545-8787D46F73E6}"/>
                    </a:ext>
                  </a:extLst>
                </p:cNvPr>
                <p:cNvPicPr/>
                <p:nvPr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7116523" y="1268415"/>
                  <a:ext cx="48240" cy="288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5">
              <p14:nvContentPartPr>
                <p14:cNvPr id="60" name="Freihand 59">
                  <a:extLst>
                    <a:ext uri="{FF2B5EF4-FFF2-40B4-BE49-F238E27FC236}">
                      <a16:creationId xmlns:a16="http://schemas.microsoft.com/office/drawing/2014/main" id="{5D5A7DF5-7741-2962-A067-69108C80EC35}"/>
                    </a:ext>
                  </a:extLst>
                </p14:cNvPr>
                <p14:cNvContentPartPr/>
                <p14:nvPr/>
              </p14:nvContentPartPr>
              <p14:xfrm>
                <a:off x="7079443" y="1418895"/>
                <a:ext cx="167400" cy="37800"/>
              </p14:xfrm>
            </p:contentPart>
          </mc:Choice>
          <mc:Fallback>
            <p:pic>
              <p:nvPicPr>
                <p:cNvPr id="60" name="Freihand 59">
                  <a:extLst>
                    <a:ext uri="{FF2B5EF4-FFF2-40B4-BE49-F238E27FC236}">
                      <a16:creationId xmlns:a16="http://schemas.microsoft.com/office/drawing/2014/main" id="{5D5A7DF5-7741-2962-A067-69108C80EC35}"/>
                    </a:ext>
                  </a:extLst>
                </p:cNvPr>
                <p:cNvPicPr/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7061443" y="1400895"/>
                  <a:ext cx="203040" cy="7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7">
              <p14:nvContentPartPr>
                <p14:cNvPr id="61" name="Freihand 60">
                  <a:extLst>
                    <a:ext uri="{FF2B5EF4-FFF2-40B4-BE49-F238E27FC236}">
                      <a16:creationId xmlns:a16="http://schemas.microsoft.com/office/drawing/2014/main" id="{FB2637BB-5DE1-17F3-8A6E-5D052DFA7E8A}"/>
                    </a:ext>
                  </a:extLst>
                </p14:cNvPr>
                <p14:cNvContentPartPr/>
                <p14:nvPr/>
              </p14:nvContentPartPr>
              <p14:xfrm>
                <a:off x="7251163" y="1426095"/>
                <a:ext cx="118080" cy="133920"/>
              </p14:xfrm>
            </p:contentPart>
          </mc:Choice>
          <mc:Fallback>
            <p:pic>
              <p:nvPicPr>
                <p:cNvPr id="61" name="Freihand 60">
                  <a:extLst>
                    <a:ext uri="{FF2B5EF4-FFF2-40B4-BE49-F238E27FC236}">
                      <a16:creationId xmlns:a16="http://schemas.microsoft.com/office/drawing/2014/main" id="{FB2637BB-5DE1-17F3-8A6E-5D052DFA7E8A}"/>
                    </a:ext>
                  </a:extLst>
                </p:cNvPr>
                <p:cNvPicPr/>
                <p:nvPr/>
              </p:nvPicPr>
              <p:blipFill>
                <a:blip r:embed="rId58"/>
                <a:stretch>
                  <a:fillRect/>
                </a:stretch>
              </p:blipFill>
              <p:spPr>
                <a:xfrm>
                  <a:off x="7233163" y="1408455"/>
                  <a:ext cx="153720" cy="16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9">
              <p14:nvContentPartPr>
                <p14:cNvPr id="62" name="Freihand 61">
                  <a:extLst>
                    <a:ext uri="{FF2B5EF4-FFF2-40B4-BE49-F238E27FC236}">
                      <a16:creationId xmlns:a16="http://schemas.microsoft.com/office/drawing/2014/main" id="{5E15F913-1B5F-528E-3CD1-AFBA85156E4F}"/>
                    </a:ext>
                  </a:extLst>
                </p14:cNvPr>
                <p14:cNvContentPartPr/>
                <p14:nvPr/>
              </p14:nvContentPartPr>
              <p14:xfrm>
                <a:off x="7424683" y="1464255"/>
                <a:ext cx="80280" cy="167040"/>
              </p14:xfrm>
            </p:contentPart>
          </mc:Choice>
          <mc:Fallback>
            <p:pic>
              <p:nvPicPr>
                <p:cNvPr id="62" name="Freihand 61">
                  <a:extLst>
                    <a:ext uri="{FF2B5EF4-FFF2-40B4-BE49-F238E27FC236}">
                      <a16:creationId xmlns:a16="http://schemas.microsoft.com/office/drawing/2014/main" id="{5E15F913-1B5F-528E-3CD1-AFBA85156E4F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7406683" y="1446615"/>
                  <a:ext cx="115920" cy="202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1">
              <p14:nvContentPartPr>
                <p14:cNvPr id="65" name="Freihand 64">
                  <a:extLst>
                    <a:ext uri="{FF2B5EF4-FFF2-40B4-BE49-F238E27FC236}">
                      <a16:creationId xmlns:a16="http://schemas.microsoft.com/office/drawing/2014/main" id="{0E557A6A-4F53-B272-B0A7-D7ADEBCE4FA3}"/>
                    </a:ext>
                  </a:extLst>
                </p14:cNvPr>
                <p14:cNvContentPartPr/>
                <p14:nvPr/>
              </p14:nvContentPartPr>
              <p14:xfrm>
                <a:off x="7592443" y="1301895"/>
                <a:ext cx="99360" cy="331560"/>
              </p14:xfrm>
            </p:contentPart>
          </mc:Choice>
          <mc:Fallback>
            <p:pic>
              <p:nvPicPr>
                <p:cNvPr id="65" name="Freihand 64">
                  <a:extLst>
                    <a:ext uri="{FF2B5EF4-FFF2-40B4-BE49-F238E27FC236}">
                      <a16:creationId xmlns:a16="http://schemas.microsoft.com/office/drawing/2014/main" id="{0E557A6A-4F53-B272-B0A7-D7ADEBCE4FA3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7574443" y="1283895"/>
                  <a:ext cx="135000" cy="367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8978DBF-770A-E208-EFB6-CB2F5BB7861F}"/>
              </a:ext>
            </a:extLst>
          </p:cNvPr>
          <p:cNvGrpSpPr/>
          <p:nvPr/>
        </p:nvGrpSpPr>
        <p:grpSpPr>
          <a:xfrm>
            <a:off x="686923" y="2584215"/>
            <a:ext cx="168480" cy="115920"/>
            <a:chOff x="686923" y="2584215"/>
            <a:chExt cx="168480" cy="115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3">
              <p14:nvContentPartPr>
                <p14:cNvPr id="67" name="Freihand 66">
                  <a:extLst>
                    <a:ext uri="{FF2B5EF4-FFF2-40B4-BE49-F238E27FC236}">
                      <a16:creationId xmlns:a16="http://schemas.microsoft.com/office/drawing/2014/main" id="{11A90569-E044-0B4B-6370-D7F26B15E910}"/>
                    </a:ext>
                  </a:extLst>
                </p14:cNvPr>
                <p14:cNvContentPartPr/>
                <p14:nvPr/>
              </p14:nvContentPartPr>
              <p14:xfrm>
                <a:off x="686923" y="2683215"/>
                <a:ext cx="168480" cy="16920"/>
              </p14:xfrm>
            </p:contentPart>
          </mc:Choice>
          <mc:Fallback>
            <p:pic>
              <p:nvPicPr>
                <p:cNvPr id="67" name="Freihand 66">
                  <a:extLst>
                    <a:ext uri="{FF2B5EF4-FFF2-40B4-BE49-F238E27FC236}">
                      <a16:creationId xmlns:a16="http://schemas.microsoft.com/office/drawing/2014/main" id="{11A90569-E044-0B4B-6370-D7F26B15E910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669283" y="2665575"/>
                  <a:ext cx="204120" cy="52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5">
              <p14:nvContentPartPr>
                <p14:cNvPr id="68" name="Freihand 67">
                  <a:extLst>
                    <a:ext uri="{FF2B5EF4-FFF2-40B4-BE49-F238E27FC236}">
                      <a16:creationId xmlns:a16="http://schemas.microsoft.com/office/drawing/2014/main" id="{2A863240-54EA-5584-1280-0EC0C6C442B9}"/>
                    </a:ext>
                  </a:extLst>
                </p14:cNvPr>
                <p14:cNvContentPartPr/>
                <p14:nvPr/>
              </p14:nvContentPartPr>
              <p14:xfrm>
                <a:off x="722563" y="2584215"/>
                <a:ext cx="91800" cy="28800"/>
              </p14:xfrm>
            </p:contentPart>
          </mc:Choice>
          <mc:Fallback>
            <p:pic>
              <p:nvPicPr>
                <p:cNvPr id="68" name="Freihand 67">
                  <a:extLst>
                    <a:ext uri="{FF2B5EF4-FFF2-40B4-BE49-F238E27FC236}">
                      <a16:creationId xmlns:a16="http://schemas.microsoft.com/office/drawing/2014/main" id="{2A863240-54EA-5584-1280-0EC0C6C442B9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704563" y="2566575"/>
                  <a:ext cx="127440" cy="64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F8C452D0-A238-F283-8869-6360DD28FDD7}"/>
              </a:ext>
            </a:extLst>
          </p:cNvPr>
          <p:cNvGrpSpPr/>
          <p:nvPr/>
        </p:nvGrpSpPr>
        <p:grpSpPr>
          <a:xfrm>
            <a:off x="1213243" y="2272455"/>
            <a:ext cx="2583000" cy="608760"/>
            <a:chOff x="1213243" y="2272455"/>
            <a:chExt cx="2583000" cy="6087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67">
              <p14:nvContentPartPr>
                <p14:cNvPr id="70" name="Freihand 69">
                  <a:extLst>
                    <a:ext uri="{FF2B5EF4-FFF2-40B4-BE49-F238E27FC236}">
                      <a16:creationId xmlns:a16="http://schemas.microsoft.com/office/drawing/2014/main" id="{728FFF0F-5132-78B1-2A82-A533887CECC2}"/>
                    </a:ext>
                  </a:extLst>
                </p14:cNvPr>
                <p14:cNvContentPartPr/>
                <p14:nvPr/>
              </p14:nvContentPartPr>
              <p14:xfrm>
                <a:off x="1213243" y="2379375"/>
                <a:ext cx="114120" cy="501840"/>
              </p14:xfrm>
            </p:contentPart>
          </mc:Choice>
          <mc:Fallback>
            <p:pic>
              <p:nvPicPr>
                <p:cNvPr id="70" name="Freihand 69">
                  <a:extLst>
                    <a:ext uri="{FF2B5EF4-FFF2-40B4-BE49-F238E27FC236}">
                      <a16:creationId xmlns:a16="http://schemas.microsoft.com/office/drawing/2014/main" id="{728FFF0F-5132-78B1-2A82-A533887CECC2}"/>
                    </a:ext>
                  </a:extLst>
                </p:cNvPr>
                <p:cNvPicPr/>
                <p:nvPr/>
              </p:nvPicPr>
              <p:blipFill>
                <a:blip r:embed="rId68"/>
                <a:stretch>
                  <a:fillRect/>
                </a:stretch>
              </p:blipFill>
              <p:spPr>
                <a:xfrm>
                  <a:off x="1195603" y="2361375"/>
                  <a:ext cx="149760" cy="537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69">
              <p14:nvContentPartPr>
                <p14:cNvPr id="71" name="Freihand 70">
                  <a:extLst>
                    <a:ext uri="{FF2B5EF4-FFF2-40B4-BE49-F238E27FC236}">
                      <a16:creationId xmlns:a16="http://schemas.microsoft.com/office/drawing/2014/main" id="{80681435-9ABE-F345-DC13-C3973EF68379}"/>
                    </a:ext>
                  </a:extLst>
                </p14:cNvPr>
                <p14:cNvContentPartPr/>
                <p14:nvPr/>
              </p14:nvContentPartPr>
              <p14:xfrm>
                <a:off x="1362643" y="2511855"/>
                <a:ext cx="136080" cy="203400"/>
              </p14:xfrm>
            </p:contentPart>
          </mc:Choice>
          <mc:Fallback>
            <p:pic>
              <p:nvPicPr>
                <p:cNvPr id="71" name="Freihand 70">
                  <a:extLst>
                    <a:ext uri="{FF2B5EF4-FFF2-40B4-BE49-F238E27FC236}">
                      <a16:creationId xmlns:a16="http://schemas.microsoft.com/office/drawing/2014/main" id="{80681435-9ABE-F345-DC13-C3973EF68379}"/>
                    </a:ext>
                  </a:extLst>
                </p:cNvPr>
                <p:cNvPicPr/>
                <p:nvPr/>
              </p:nvPicPr>
              <p:blipFill>
                <a:blip r:embed="rId70"/>
                <a:stretch>
                  <a:fillRect/>
                </a:stretch>
              </p:blipFill>
              <p:spPr>
                <a:xfrm>
                  <a:off x="1344643" y="2493855"/>
                  <a:ext cx="171720" cy="23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1">
              <p14:nvContentPartPr>
                <p14:cNvPr id="72" name="Freihand 71">
                  <a:extLst>
                    <a:ext uri="{FF2B5EF4-FFF2-40B4-BE49-F238E27FC236}">
                      <a16:creationId xmlns:a16="http://schemas.microsoft.com/office/drawing/2014/main" id="{1E14BB62-9F13-607D-644F-85A1CDAEB0DF}"/>
                    </a:ext>
                  </a:extLst>
                </p14:cNvPr>
                <p14:cNvContentPartPr/>
                <p14:nvPr/>
              </p14:nvContentPartPr>
              <p14:xfrm>
                <a:off x="1549483" y="2600775"/>
                <a:ext cx="124200" cy="23400"/>
              </p14:xfrm>
            </p:contentPart>
          </mc:Choice>
          <mc:Fallback>
            <p:pic>
              <p:nvPicPr>
                <p:cNvPr id="72" name="Freihand 71">
                  <a:extLst>
                    <a:ext uri="{FF2B5EF4-FFF2-40B4-BE49-F238E27FC236}">
                      <a16:creationId xmlns:a16="http://schemas.microsoft.com/office/drawing/2014/main" id="{1E14BB62-9F13-607D-644F-85A1CDAEB0DF}"/>
                    </a:ext>
                  </a:extLst>
                </p:cNvPr>
                <p:cNvPicPr/>
                <p:nvPr/>
              </p:nvPicPr>
              <p:blipFill>
                <a:blip r:embed="rId72"/>
                <a:stretch>
                  <a:fillRect/>
                </a:stretch>
              </p:blipFill>
              <p:spPr>
                <a:xfrm>
                  <a:off x="1531843" y="2583135"/>
                  <a:ext cx="15984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3">
              <p14:nvContentPartPr>
                <p14:cNvPr id="73" name="Freihand 72">
                  <a:extLst>
                    <a:ext uri="{FF2B5EF4-FFF2-40B4-BE49-F238E27FC236}">
                      <a16:creationId xmlns:a16="http://schemas.microsoft.com/office/drawing/2014/main" id="{CD3B9358-C6F5-8C9C-CE48-CFB92798FABD}"/>
                    </a:ext>
                  </a:extLst>
                </p14:cNvPr>
                <p14:cNvContentPartPr/>
                <p14:nvPr/>
              </p14:nvContentPartPr>
              <p14:xfrm>
                <a:off x="1730923" y="2434815"/>
                <a:ext cx="52920" cy="284400"/>
              </p14:xfrm>
            </p:contentPart>
          </mc:Choice>
          <mc:Fallback>
            <p:pic>
              <p:nvPicPr>
                <p:cNvPr id="73" name="Freihand 72">
                  <a:extLst>
                    <a:ext uri="{FF2B5EF4-FFF2-40B4-BE49-F238E27FC236}">
                      <a16:creationId xmlns:a16="http://schemas.microsoft.com/office/drawing/2014/main" id="{CD3B9358-C6F5-8C9C-CE48-CFB92798FABD}"/>
                    </a:ext>
                  </a:extLst>
                </p:cNvPr>
                <p:cNvPicPr/>
                <p:nvPr/>
              </p:nvPicPr>
              <p:blipFill>
                <a:blip r:embed="rId74"/>
                <a:stretch>
                  <a:fillRect/>
                </a:stretch>
              </p:blipFill>
              <p:spPr>
                <a:xfrm>
                  <a:off x="1713283" y="2416815"/>
                  <a:ext cx="88560" cy="32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5">
              <p14:nvContentPartPr>
                <p14:cNvPr id="74" name="Freihand 73">
                  <a:extLst>
                    <a:ext uri="{FF2B5EF4-FFF2-40B4-BE49-F238E27FC236}">
                      <a16:creationId xmlns:a16="http://schemas.microsoft.com/office/drawing/2014/main" id="{0F9E9A99-895A-7DCF-2700-86CB7BAFA10F}"/>
                    </a:ext>
                  </a:extLst>
                </p14:cNvPr>
                <p14:cNvContentPartPr/>
                <p14:nvPr/>
              </p14:nvContentPartPr>
              <p14:xfrm>
                <a:off x="1649923" y="2475495"/>
                <a:ext cx="176040" cy="44640"/>
              </p14:xfrm>
            </p:contentPart>
          </mc:Choice>
          <mc:Fallback>
            <p:pic>
              <p:nvPicPr>
                <p:cNvPr id="74" name="Freihand 73">
                  <a:extLst>
                    <a:ext uri="{FF2B5EF4-FFF2-40B4-BE49-F238E27FC236}">
                      <a16:creationId xmlns:a16="http://schemas.microsoft.com/office/drawing/2014/main" id="{0F9E9A99-895A-7DCF-2700-86CB7BAFA10F}"/>
                    </a:ext>
                  </a:extLst>
                </p:cNvPr>
                <p:cNvPicPr/>
                <p:nvPr/>
              </p:nvPicPr>
              <p:blipFill>
                <a:blip r:embed="rId76"/>
                <a:stretch>
                  <a:fillRect/>
                </a:stretch>
              </p:blipFill>
              <p:spPr>
                <a:xfrm>
                  <a:off x="1632283" y="2457855"/>
                  <a:ext cx="211680" cy="8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7">
              <p14:nvContentPartPr>
                <p14:cNvPr id="75" name="Freihand 74">
                  <a:extLst>
                    <a:ext uri="{FF2B5EF4-FFF2-40B4-BE49-F238E27FC236}">
                      <a16:creationId xmlns:a16="http://schemas.microsoft.com/office/drawing/2014/main" id="{CDE1EFFA-110F-B8F2-9DF6-27369221C8EB}"/>
                    </a:ext>
                  </a:extLst>
                </p14:cNvPr>
                <p14:cNvContentPartPr/>
                <p14:nvPr/>
              </p14:nvContentPartPr>
              <p14:xfrm>
                <a:off x="1797163" y="2592135"/>
                <a:ext cx="102240" cy="144000"/>
              </p14:xfrm>
            </p:contentPart>
          </mc:Choice>
          <mc:Fallback>
            <p:pic>
              <p:nvPicPr>
                <p:cNvPr id="75" name="Freihand 74">
                  <a:extLst>
                    <a:ext uri="{FF2B5EF4-FFF2-40B4-BE49-F238E27FC236}">
                      <a16:creationId xmlns:a16="http://schemas.microsoft.com/office/drawing/2014/main" id="{CDE1EFFA-110F-B8F2-9DF6-27369221C8EB}"/>
                    </a:ext>
                  </a:extLst>
                </p:cNvPr>
                <p:cNvPicPr/>
                <p:nvPr/>
              </p:nvPicPr>
              <p:blipFill>
                <a:blip r:embed="rId78"/>
                <a:stretch>
                  <a:fillRect/>
                </a:stretch>
              </p:blipFill>
              <p:spPr>
                <a:xfrm>
                  <a:off x="1779163" y="2574495"/>
                  <a:ext cx="137880" cy="179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79">
              <p14:nvContentPartPr>
                <p14:cNvPr id="76" name="Freihand 75">
                  <a:extLst>
                    <a:ext uri="{FF2B5EF4-FFF2-40B4-BE49-F238E27FC236}">
                      <a16:creationId xmlns:a16="http://schemas.microsoft.com/office/drawing/2014/main" id="{21C7F36F-3718-0E1F-4301-2BC4D1987DBC}"/>
                    </a:ext>
                  </a:extLst>
                </p14:cNvPr>
                <p14:cNvContentPartPr/>
                <p14:nvPr/>
              </p14:nvContentPartPr>
              <p14:xfrm>
                <a:off x="1953043" y="2338335"/>
                <a:ext cx="114120" cy="492840"/>
              </p14:xfrm>
            </p:contentPart>
          </mc:Choice>
          <mc:Fallback>
            <p:pic>
              <p:nvPicPr>
                <p:cNvPr id="76" name="Freihand 75">
                  <a:extLst>
                    <a:ext uri="{FF2B5EF4-FFF2-40B4-BE49-F238E27FC236}">
                      <a16:creationId xmlns:a16="http://schemas.microsoft.com/office/drawing/2014/main" id="{21C7F36F-3718-0E1F-4301-2BC4D1987DBC}"/>
                    </a:ext>
                  </a:extLst>
                </p:cNvPr>
                <p:cNvPicPr/>
                <p:nvPr/>
              </p:nvPicPr>
              <p:blipFill>
                <a:blip r:embed="rId80"/>
                <a:stretch>
                  <a:fillRect/>
                </a:stretch>
              </p:blipFill>
              <p:spPr>
                <a:xfrm>
                  <a:off x="1935403" y="2320335"/>
                  <a:ext cx="149760" cy="52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1">
              <p14:nvContentPartPr>
                <p14:cNvPr id="78" name="Freihand 77">
                  <a:extLst>
                    <a:ext uri="{FF2B5EF4-FFF2-40B4-BE49-F238E27FC236}">
                      <a16:creationId xmlns:a16="http://schemas.microsoft.com/office/drawing/2014/main" id="{DCC0A6FA-5EA8-0C32-9AA2-C830D6304470}"/>
                    </a:ext>
                  </a:extLst>
                </p14:cNvPr>
                <p14:cNvContentPartPr/>
                <p14:nvPr/>
              </p14:nvContentPartPr>
              <p14:xfrm>
                <a:off x="2171923" y="2521935"/>
                <a:ext cx="21960" cy="57240"/>
              </p14:xfrm>
            </p:contentPart>
          </mc:Choice>
          <mc:Fallback>
            <p:pic>
              <p:nvPicPr>
                <p:cNvPr id="78" name="Freihand 77">
                  <a:extLst>
                    <a:ext uri="{FF2B5EF4-FFF2-40B4-BE49-F238E27FC236}">
                      <a16:creationId xmlns:a16="http://schemas.microsoft.com/office/drawing/2014/main" id="{DCC0A6FA-5EA8-0C32-9AA2-C830D6304470}"/>
                    </a:ext>
                  </a:extLst>
                </p:cNvPr>
                <p:cNvPicPr/>
                <p:nvPr/>
              </p:nvPicPr>
              <p:blipFill>
                <a:blip r:embed="rId82"/>
                <a:stretch>
                  <a:fillRect/>
                </a:stretch>
              </p:blipFill>
              <p:spPr>
                <a:xfrm>
                  <a:off x="2154283" y="2503935"/>
                  <a:ext cx="57600" cy="92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3">
              <p14:nvContentPartPr>
                <p14:cNvPr id="79" name="Freihand 78">
                  <a:extLst>
                    <a:ext uri="{FF2B5EF4-FFF2-40B4-BE49-F238E27FC236}">
                      <a16:creationId xmlns:a16="http://schemas.microsoft.com/office/drawing/2014/main" id="{17889DC0-3BCE-59D6-9DFE-D1031016FC2D}"/>
                    </a:ext>
                  </a:extLst>
                </p14:cNvPr>
                <p14:cNvContentPartPr/>
                <p14:nvPr/>
              </p14:nvContentPartPr>
              <p14:xfrm>
                <a:off x="2290723" y="2287575"/>
                <a:ext cx="169200" cy="462240"/>
              </p14:xfrm>
            </p:contentPart>
          </mc:Choice>
          <mc:Fallback>
            <p:pic>
              <p:nvPicPr>
                <p:cNvPr id="79" name="Freihand 78">
                  <a:extLst>
                    <a:ext uri="{FF2B5EF4-FFF2-40B4-BE49-F238E27FC236}">
                      <a16:creationId xmlns:a16="http://schemas.microsoft.com/office/drawing/2014/main" id="{17889DC0-3BCE-59D6-9DFE-D1031016FC2D}"/>
                    </a:ext>
                  </a:extLst>
                </p:cNvPr>
                <p:cNvPicPr/>
                <p:nvPr/>
              </p:nvPicPr>
              <p:blipFill>
                <a:blip r:embed="rId84"/>
                <a:stretch>
                  <a:fillRect/>
                </a:stretch>
              </p:blipFill>
              <p:spPr>
                <a:xfrm>
                  <a:off x="2273083" y="2269935"/>
                  <a:ext cx="204840" cy="49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5">
              <p14:nvContentPartPr>
                <p14:cNvPr id="80" name="Freihand 79">
                  <a:extLst>
                    <a:ext uri="{FF2B5EF4-FFF2-40B4-BE49-F238E27FC236}">
                      <a16:creationId xmlns:a16="http://schemas.microsoft.com/office/drawing/2014/main" id="{E42B0E52-405F-175A-CD63-8E02343C376B}"/>
                    </a:ext>
                  </a:extLst>
                </p14:cNvPr>
                <p14:cNvContentPartPr/>
                <p14:nvPr/>
              </p14:nvContentPartPr>
              <p14:xfrm>
                <a:off x="2478643" y="2376135"/>
                <a:ext cx="110520" cy="240840"/>
              </p14:xfrm>
            </p:contentPart>
          </mc:Choice>
          <mc:Fallback>
            <p:pic>
              <p:nvPicPr>
                <p:cNvPr id="80" name="Freihand 79">
                  <a:extLst>
                    <a:ext uri="{FF2B5EF4-FFF2-40B4-BE49-F238E27FC236}">
                      <a16:creationId xmlns:a16="http://schemas.microsoft.com/office/drawing/2014/main" id="{E42B0E52-405F-175A-CD63-8E02343C376B}"/>
                    </a:ext>
                  </a:extLst>
                </p:cNvPr>
                <p:cNvPicPr/>
                <p:nvPr/>
              </p:nvPicPr>
              <p:blipFill>
                <a:blip r:embed="rId86"/>
                <a:stretch>
                  <a:fillRect/>
                </a:stretch>
              </p:blipFill>
              <p:spPr>
                <a:xfrm>
                  <a:off x="2460643" y="2358495"/>
                  <a:ext cx="146160" cy="276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7">
              <p14:nvContentPartPr>
                <p14:cNvPr id="81" name="Freihand 80">
                  <a:extLst>
                    <a:ext uri="{FF2B5EF4-FFF2-40B4-BE49-F238E27FC236}">
                      <a16:creationId xmlns:a16="http://schemas.microsoft.com/office/drawing/2014/main" id="{C116A47B-F307-7910-DCCD-F6ECD71379DD}"/>
                    </a:ext>
                  </a:extLst>
                </p14:cNvPr>
                <p14:cNvContentPartPr/>
                <p14:nvPr/>
              </p14:nvContentPartPr>
              <p14:xfrm>
                <a:off x="2627683" y="2499255"/>
                <a:ext cx="76320" cy="22320"/>
              </p14:xfrm>
            </p:contentPart>
          </mc:Choice>
          <mc:Fallback>
            <p:pic>
              <p:nvPicPr>
                <p:cNvPr id="81" name="Freihand 80">
                  <a:extLst>
                    <a:ext uri="{FF2B5EF4-FFF2-40B4-BE49-F238E27FC236}">
                      <a16:creationId xmlns:a16="http://schemas.microsoft.com/office/drawing/2014/main" id="{C116A47B-F307-7910-DCCD-F6ECD71379DD}"/>
                    </a:ext>
                  </a:extLst>
                </p:cNvPr>
                <p:cNvPicPr/>
                <p:nvPr/>
              </p:nvPicPr>
              <p:blipFill>
                <a:blip r:embed="rId88"/>
                <a:stretch>
                  <a:fillRect/>
                </a:stretch>
              </p:blipFill>
              <p:spPr>
                <a:xfrm>
                  <a:off x="2609683" y="2481615"/>
                  <a:ext cx="111960" cy="5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89">
              <p14:nvContentPartPr>
                <p14:cNvPr id="83" name="Freihand 82">
                  <a:extLst>
                    <a:ext uri="{FF2B5EF4-FFF2-40B4-BE49-F238E27FC236}">
                      <a16:creationId xmlns:a16="http://schemas.microsoft.com/office/drawing/2014/main" id="{66F5CA96-7E90-0D06-5BC1-DD909968678C}"/>
                    </a:ext>
                  </a:extLst>
                </p14:cNvPr>
                <p14:cNvContentPartPr/>
                <p14:nvPr/>
              </p14:nvContentPartPr>
              <p14:xfrm>
                <a:off x="2813803" y="2354895"/>
                <a:ext cx="23400" cy="245520"/>
              </p14:xfrm>
            </p:contentPart>
          </mc:Choice>
          <mc:Fallback>
            <p:pic>
              <p:nvPicPr>
                <p:cNvPr id="83" name="Freihand 82">
                  <a:extLst>
                    <a:ext uri="{FF2B5EF4-FFF2-40B4-BE49-F238E27FC236}">
                      <a16:creationId xmlns:a16="http://schemas.microsoft.com/office/drawing/2014/main" id="{66F5CA96-7E90-0D06-5BC1-DD909968678C}"/>
                    </a:ext>
                  </a:extLst>
                </p:cNvPr>
                <p:cNvPicPr/>
                <p:nvPr/>
              </p:nvPicPr>
              <p:blipFill>
                <a:blip r:embed="rId90"/>
                <a:stretch>
                  <a:fillRect/>
                </a:stretch>
              </p:blipFill>
              <p:spPr>
                <a:xfrm>
                  <a:off x="2795803" y="2336895"/>
                  <a:ext cx="59040" cy="28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1">
              <p14:nvContentPartPr>
                <p14:cNvPr id="84" name="Freihand 83">
                  <a:extLst>
                    <a:ext uri="{FF2B5EF4-FFF2-40B4-BE49-F238E27FC236}">
                      <a16:creationId xmlns:a16="http://schemas.microsoft.com/office/drawing/2014/main" id="{267E6FA6-60EE-7CDA-1237-2B899B117B9E}"/>
                    </a:ext>
                  </a:extLst>
                </p14:cNvPr>
                <p14:cNvContentPartPr/>
                <p14:nvPr/>
              </p14:nvContentPartPr>
              <p14:xfrm>
                <a:off x="2753683" y="2425815"/>
                <a:ext cx="167040" cy="13320"/>
              </p14:xfrm>
            </p:contentPart>
          </mc:Choice>
          <mc:Fallback>
            <p:pic>
              <p:nvPicPr>
                <p:cNvPr id="84" name="Freihand 83">
                  <a:extLst>
                    <a:ext uri="{FF2B5EF4-FFF2-40B4-BE49-F238E27FC236}">
                      <a16:creationId xmlns:a16="http://schemas.microsoft.com/office/drawing/2014/main" id="{267E6FA6-60EE-7CDA-1237-2B899B117B9E}"/>
                    </a:ext>
                  </a:extLst>
                </p:cNvPr>
                <p:cNvPicPr/>
                <p:nvPr/>
              </p:nvPicPr>
              <p:blipFill>
                <a:blip r:embed="rId92"/>
                <a:stretch>
                  <a:fillRect/>
                </a:stretch>
              </p:blipFill>
              <p:spPr>
                <a:xfrm>
                  <a:off x="2735683" y="2408175"/>
                  <a:ext cx="202680" cy="48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3">
              <p14:nvContentPartPr>
                <p14:cNvPr id="85" name="Freihand 84">
                  <a:extLst>
                    <a:ext uri="{FF2B5EF4-FFF2-40B4-BE49-F238E27FC236}">
                      <a16:creationId xmlns:a16="http://schemas.microsoft.com/office/drawing/2014/main" id="{E3C204D2-4ACC-1426-3681-8C1F8382C4BB}"/>
                    </a:ext>
                  </a:extLst>
                </p14:cNvPr>
                <p14:cNvContentPartPr/>
                <p14:nvPr/>
              </p14:nvContentPartPr>
              <p14:xfrm>
                <a:off x="2828203" y="2326815"/>
                <a:ext cx="14400" cy="104760"/>
              </p14:xfrm>
            </p:contentPart>
          </mc:Choice>
          <mc:Fallback>
            <p:pic>
              <p:nvPicPr>
                <p:cNvPr id="85" name="Freihand 84">
                  <a:extLst>
                    <a:ext uri="{FF2B5EF4-FFF2-40B4-BE49-F238E27FC236}">
                      <a16:creationId xmlns:a16="http://schemas.microsoft.com/office/drawing/2014/main" id="{E3C204D2-4ACC-1426-3681-8C1F8382C4BB}"/>
                    </a:ext>
                  </a:extLst>
                </p:cNvPr>
                <p:cNvPicPr/>
                <p:nvPr/>
              </p:nvPicPr>
              <p:blipFill>
                <a:blip r:embed="rId94"/>
                <a:stretch>
                  <a:fillRect/>
                </a:stretch>
              </p:blipFill>
              <p:spPr>
                <a:xfrm>
                  <a:off x="2810203" y="2308815"/>
                  <a:ext cx="50040" cy="140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5">
              <p14:nvContentPartPr>
                <p14:cNvPr id="86" name="Freihand 85">
                  <a:extLst>
                    <a:ext uri="{FF2B5EF4-FFF2-40B4-BE49-F238E27FC236}">
                      <a16:creationId xmlns:a16="http://schemas.microsoft.com/office/drawing/2014/main" id="{4F8E6AA6-03B9-FBCC-EF30-0C0F1E3FA0F8}"/>
                    </a:ext>
                  </a:extLst>
                </p14:cNvPr>
                <p14:cNvContentPartPr/>
                <p14:nvPr/>
              </p14:nvContentPartPr>
              <p14:xfrm>
                <a:off x="2919643" y="2280735"/>
                <a:ext cx="100080" cy="442440"/>
              </p14:xfrm>
            </p:contentPart>
          </mc:Choice>
          <mc:Fallback>
            <p:pic>
              <p:nvPicPr>
                <p:cNvPr id="86" name="Freihand 85">
                  <a:extLst>
                    <a:ext uri="{FF2B5EF4-FFF2-40B4-BE49-F238E27FC236}">
                      <a16:creationId xmlns:a16="http://schemas.microsoft.com/office/drawing/2014/main" id="{4F8E6AA6-03B9-FBCC-EF30-0C0F1E3FA0F8}"/>
                    </a:ext>
                  </a:extLst>
                </p:cNvPr>
                <p:cNvPicPr/>
                <p:nvPr/>
              </p:nvPicPr>
              <p:blipFill>
                <a:blip r:embed="rId96"/>
                <a:stretch>
                  <a:fillRect/>
                </a:stretch>
              </p:blipFill>
              <p:spPr>
                <a:xfrm>
                  <a:off x="2902003" y="2263095"/>
                  <a:ext cx="135720" cy="47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7">
              <p14:nvContentPartPr>
                <p14:cNvPr id="87" name="Freihand 86">
                  <a:extLst>
                    <a:ext uri="{FF2B5EF4-FFF2-40B4-BE49-F238E27FC236}">
                      <a16:creationId xmlns:a16="http://schemas.microsoft.com/office/drawing/2014/main" id="{8C0A99AD-2622-6663-B648-F7D41E5231F7}"/>
                    </a:ext>
                  </a:extLst>
                </p14:cNvPr>
                <p14:cNvContentPartPr/>
                <p14:nvPr/>
              </p14:nvContentPartPr>
              <p14:xfrm>
                <a:off x="3129523" y="2433735"/>
                <a:ext cx="32400" cy="15840"/>
              </p14:xfrm>
            </p:contentPart>
          </mc:Choice>
          <mc:Fallback>
            <p:pic>
              <p:nvPicPr>
                <p:cNvPr id="87" name="Freihand 86">
                  <a:extLst>
                    <a:ext uri="{FF2B5EF4-FFF2-40B4-BE49-F238E27FC236}">
                      <a16:creationId xmlns:a16="http://schemas.microsoft.com/office/drawing/2014/main" id="{8C0A99AD-2622-6663-B648-F7D41E5231F7}"/>
                    </a:ext>
                  </a:extLst>
                </p:cNvPr>
                <p:cNvPicPr/>
                <p:nvPr/>
              </p:nvPicPr>
              <p:blipFill>
                <a:blip r:embed="rId98"/>
                <a:stretch>
                  <a:fillRect/>
                </a:stretch>
              </p:blipFill>
              <p:spPr>
                <a:xfrm>
                  <a:off x="3111523" y="2416095"/>
                  <a:ext cx="6804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99">
              <p14:nvContentPartPr>
                <p14:cNvPr id="88" name="Freihand 87">
                  <a:extLst>
                    <a:ext uri="{FF2B5EF4-FFF2-40B4-BE49-F238E27FC236}">
                      <a16:creationId xmlns:a16="http://schemas.microsoft.com/office/drawing/2014/main" id="{2A7E2132-5FDA-1352-66A0-B3CBC5280C03}"/>
                    </a:ext>
                  </a:extLst>
                </p14:cNvPr>
                <p14:cNvContentPartPr/>
                <p14:nvPr/>
              </p14:nvContentPartPr>
              <p14:xfrm>
                <a:off x="3248323" y="2331855"/>
                <a:ext cx="95400" cy="261000"/>
              </p14:xfrm>
            </p:contentPart>
          </mc:Choice>
          <mc:Fallback>
            <p:pic>
              <p:nvPicPr>
                <p:cNvPr id="88" name="Freihand 87">
                  <a:extLst>
                    <a:ext uri="{FF2B5EF4-FFF2-40B4-BE49-F238E27FC236}">
                      <a16:creationId xmlns:a16="http://schemas.microsoft.com/office/drawing/2014/main" id="{2A7E2132-5FDA-1352-66A0-B3CBC5280C03}"/>
                    </a:ext>
                  </a:extLst>
                </p:cNvPr>
                <p:cNvPicPr/>
                <p:nvPr/>
              </p:nvPicPr>
              <p:blipFill>
                <a:blip r:embed="rId100"/>
                <a:stretch>
                  <a:fillRect/>
                </a:stretch>
              </p:blipFill>
              <p:spPr>
                <a:xfrm>
                  <a:off x="3230323" y="2313855"/>
                  <a:ext cx="131040" cy="296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1">
              <p14:nvContentPartPr>
                <p14:cNvPr id="89" name="Freihand 88">
                  <a:extLst>
                    <a:ext uri="{FF2B5EF4-FFF2-40B4-BE49-F238E27FC236}">
                      <a16:creationId xmlns:a16="http://schemas.microsoft.com/office/drawing/2014/main" id="{D1495E72-C965-3455-F4F4-73C6B0B3250F}"/>
                    </a:ext>
                  </a:extLst>
                </p14:cNvPr>
                <p14:cNvContentPartPr/>
                <p14:nvPr/>
              </p14:nvContentPartPr>
              <p14:xfrm>
                <a:off x="3389083" y="2466495"/>
                <a:ext cx="128880" cy="114840"/>
              </p14:xfrm>
            </p:contentPart>
          </mc:Choice>
          <mc:Fallback>
            <p:pic>
              <p:nvPicPr>
                <p:cNvPr id="89" name="Freihand 88">
                  <a:extLst>
                    <a:ext uri="{FF2B5EF4-FFF2-40B4-BE49-F238E27FC236}">
                      <a16:creationId xmlns:a16="http://schemas.microsoft.com/office/drawing/2014/main" id="{D1495E72-C965-3455-F4F4-73C6B0B3250F}"/>
                    </a:ext>
                  </a:extLst>
                </p:cNvPr>
                <p:cNvPicPr/>
                <p:nvPr/>
              </p:nvPicPr>
              <p:blipFill>
                <a:blip r:embed="rId102"/>
                <a:stretch>
                  <a:fillRect/>
                </a:stretch>
              </p:blipFill>
              <p:spPr>
                <a:xfrm>
                  <a:off x="3371443" y="2448495"/>
                  <a:ext cx="164520" cy="15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3">
              <p14:nvContentPartPr>
                <p14:cNvPr id="90" name="Freihand 89">
                  <a:extLst>
                    <a:ext uri="{FF2B5EF4-FFF2-40B4-BE49-F238E27FC236}">
                      <a16:creationId xmlns:a16="http://schemas.microsoft.com/office/drawing/2014/main" id="{939319D7-64F6-1B75-9C81-00548E20A454}"/>
                    </a:ext>
                  </a:extLst>
                </p14:cNvPr>
                <p14:cNvContentPartPr/>
                <p14:nvPr/>
              </p14:nvContentPartPr>
              <p14:xfrm>
                <a:off x="3653683" y="2389815"/>
                <a:ext cx="142560" cy="6840"/>
              </p14:xfrm>
            </p:contentPart>
          </mc:Choice>
          <mc:Fallback>
            <p:pic>
              <p:nvPicPr>
                <p:cNvPr id="90" name="Freihand 89">
                  <a:extLst>
                    <a:ext uri="{FF2B5EF4-FFF2-40B4-BE49-F238E27FC236}">
                      <a16:creationId xmlns:a16="http://schemas.microsoft.com/office/drawing/2014/main" id="{939319D7-64F6-1B75-9C81-00548E20A454}"/>
                    </a:ext>
                  </a:extLst>
                </p:cNvPr>
                <p:cNvPicPr/>
                <p:nvPr/>
              </p:nvPicPr>
              <p:blipFill>
                <a:blip r:embed="rId104"/>
                <a:stretch>
                  <a:fillRect/>
                </a:stretch>
              </p:blipFill>
              <p:spPr>
                <a:xfrm>
                  <a:off x="3635683" y="2372175"/>
                  <a:ext cx="178200" cy="42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05">
              <p14:nvContentPartPr>
                <p14:cNvPr id="91" name="Freihand 90">
                  <a:extLst>
                    <a:ext uri="{FF2B5EF4-FFF2-40B4-BE49-F238E27FC236}">
                      <a16:creationId xmlns:a16="http://schemas.microsoft.com/office/drawing/2014/main" id="{73C75A7E-9B26-3BDF-E133-33C395617F22}"/>
                    </a:ext>
                  </a:extLst>
                </p14:cNvPr>
                <p14:cNvContentPartPr/>
                <p14:nvPr/>
              </p14:nvContentPartPr>
              <p14:xfrm>
                <a:off x="3695083" y="2272455"/>
                <a:ext cx="26280" cy="261720"/>
              </p14:xfrm>
            </p:contentPart>
          </mc:Choice>
          <mc:Fallback>
            <p:pic>
              <p:nvPicPr>
                <p:cNvPr id="91" name="Freihand 90">
                  <a:extLst>
                    <a:ext uri="{FF2B5EF4-FFF2-40B4-BE49-F238E27FC236}">
                      <a16:creationId xmlns:a16="http://schemas.microsoft.com/office/drawing/2014/main" id="{73C75A7E-9B26-3BDF-E133-33C395617F22}"/>
                    </a:ext>
                  </a:extLst>
                </p:cNvPr>
                <p:cNvPicPr/>
                <p:nvPr/>
              </p:nvPicPr>
              <p:blipFill>
                <a:blip r:embed="rId106"/>
                <a:stretch>
                  <a:fillRect/>
                </a:stretch>
              </p:blipFill>
              <p:spPr>
                <a:xfrm>
                  <a:off x="3677443" y="2254455"/>
                  <a:ext cx="61920" cy="2973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107">
            <p14:nvContentPartPr>
              <p14:cNvPr id="102" name="Freihand 101">
                <a:extLst>
                  <a:ext uri="{FF2B5EF4-FFF2-40B4-BE49-F238E27FC236}">
                    <a16:creationId xmlns:a16="http://schemas.microsoft.com/office/drawing/2014/main" id="{F7CB9811-8B5D-2339-D949-08ACF6921656}"/>
                  </a:ext>
                </a:extLst>
              </p14:cNvPr>
              <p14:cNvContentPartPr/>
              <p14:nvPr/>
            </p14:nvContentPartPr>
            <p14:xfrm>
              <a:off x="4665643" y="2110815"/>
              <a:ext cx="87840" cy="410760"/>
            </p14:xfrm>
          </p:contentPart>
        </mc:Choice>
        <mc:Fallback>
          <p:pic>
            <p:nvPicPr>
              <p:cNvPr id="102" name="Freihand 101">
                <a:extLst>
                  <a:ext uri="{FF2B5EF4-FFF2-40B4-BE49-F238E27FC236}">
                    <a16:creationId xmlns:a16="http://schemas.microsoft.com/office/drawing/2014/main" id="{F7CB9811-8B5D-2339-D949-08ACF6921656}"/>
                  </a:ext>
                </a:extLst>
              </p:cNvPr>
              <p:cNvPicPr/>
              <p:nvPr/>
            </p:nvPicPr>
            <p:blipFill>
              <a:blip r:embed="rId108"/>
              <a:stretch>
                <a:fillRect/>
              </a:stretch>
            </p:blipFill>
            <p:spPr>
              <a:xfrm>
                <a:off x="4648003" y="2092815"/>
                <a:ext cx="123480" cy="446400"/>
              </a:xfrm>
              <a:prstGeom prst="rect">
                <a:avLst/>
              </a:prstGeom>
            </p:spPr>
          </p:pic>
        </mc:Fallback>
      </mc:AlternateContent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E6986E5A-3D16-56A9-5E46-3B11A0D8DBD4}"/>
              </a:ext>
            </a:extLst>
          </p:cNvPr>
          <p:cNvGrpSpPr/>
          <p:nvPr/>
        </p:nvGrpSpPr>
        <p:grpSpPr>
          <a:xfrm>
            <a:off x="3998923" y="2100375"/>
            <a:ext cx="837720" cy="425160"/>
            <a:chOff x="3998923" y="2100375"/>
            <a:chExt cx="837720" cy="425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09">
              <p14:nvContentPartPr>
                <p14:cNvPr id="92" name="Freihand 91">
                  <a:extLst>
                    <a:ext uri="{FF2B5EF4-FFF2-40B4-BE49-F238E27FC236}">
                      <a16:creationId xmlns:a16="http://schemas.microsoft.com/office/drawing/2014/main" id="{35014D5E-341F-4208-FFB3-B5F94FD7CE16}"/>
                    </a:ext>
                  </a:extLst>
                </p14:cNvPr>
                <p14:cNvContentPartPr/>
                <p14:nvPr/>
              </p14:nvContentPartPr>
              <p14:xfrm>
                <a:off x="3998923" y="2121255"/>
                <a:ext cx="112320" cy="404280"/>
              </p14:xfrm>
            </p:contentPart>
          </mc:Choice>
          <mc:Fallback>
            <p:pic>
              <p:nvPicPr>
                <p:cNvPr id="92" name="Freihand 91">
                  <a:extLst>
                    <a:ext uri="{FF2B5EF4-FFF2-40B4-BE49-F238E27FC236}">
                      <a16:creationId xmlns:a16="http://schemas.microsoft.com/office/drawing/2014/main" id="{35014D5E-341F-4208-FFB3-B5F94FD7CE16}"/>
                    </a:ext>
                  </a:extLst>
                </p:cNvPr>
                <p:cNvPicPr/>
                <p:nvPr/>
              </p:nvPicPr>
              <p:blipFill>
                <a:blip r:embed="rId110"/>
                <a:stretch>
                  <a:fillRect/>
                </a:stretch>
              </p:blipFill>
              <p:spPr>
                <a:xfrm>
                  <a:off x="3980923" y="2103615"/>
                  <a:ext cx="147960" cy="439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1">
              <p14:nvContentPartPr>
                <p14:cNvPr id="93" name="Freihand 92">
                  <a:extLst>
                    <a:ext uri="{FF2B5EF4-FFF2-40B4-BE49-F238E27FC236}">
                      <a16:creationId xmlns:a16="http://schemas.microsoft.com/office/drawing/2014/main" id="{179AA786-14EB-C351-84ED-ACF2C0C26E39}"/>
                    </a:ext>
                  </a:extLst>
                </p14:cNvPr>
                <p14:cNvContentPartPr/>
                <p14:nvPr/>
              </p14:nvContentPartPr>
              <p14:xfrm>
                <a:off x="4124203" y="2179215"/>
                <a:ext cx="143280" cy="256680"/>
              </p14:xfrm>
            </p:contentPart>
          </mc:Choice>
          <mc:Fallback>
            <p:pic>
              <p:nvPicPr>
                <p:cNvPr id="93" name="Freihand 92">
                  <a:extLst>
                    <a:ext uri="{FF2B5EF4-FFF2-40B4-BE49-F238E27FC236}">
                      <a16:creationId xmlns:a16="http://schemas.microsoft.com/office/drawing/2014/main" id="{179AA786-14EB-C351-84ED-ACF2C0C26E39}"/>
                    </a:ext>
                  </a:extLst>
                </p:cNvPr>
                <p:cNvPicPr/>
                <p:nvPr/>
              </p:nvPicPr>
              <p:blipFill>
                <a:blip r:embed="rId112"/>
                <a:stretch>
                  <a:fillRect/>
                </a:stretch>
              </p:blipFill>
              <p:spPr>
                <a:xfrm>
                  <a:off x="4106203" y="2161575"/>
                  <a:ext cx="178920" cy="292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3">
              <p14:nvContentPartPr>
                <p14:cNvPr id="94" name="Freihand 93">
                  <a:extLst>
                    <a:ext uri="{FF2B5EF4-FFF2-40B4-BE49-F238E27FC236}">
                      <a16:creationId xmlns:a16="http://schemas.microsoft.com/office/drawing/2014/main" id="{68069DC6-CD23-18B5-4C49-7694222EB451}"/>
                    </a:ext>
                  </a:extLst>
                </p14:cNvPr>
                <p14:cNvContentPartPr/>
                <p14:nvPr/>
              </p14:nvContentPartPr>
              <p14:xfrm>
                <a:off x="4319323" y="2293335"/>
                <a:ext cx="110880" cy="35640"/>
              </p14:xfrm>
            </p:contentPart>
          </mc:Choice>
          <mc:Fallback>
            <p:pic>
              <p:nvPicPr>
                <p:cNvPr id="94" name="Freihand 93">
                  <a:extLst>
                    <a:ext uri="{FF2B5EF4-FFF2-40B4-BE49-F238E27FC236}">
                      <a16:creationId xmlns:a16="http://schemas.microsoft.com/office/drawing/2014/main" id="{68069DC6-CD23-18B5-4C49-7694222EB451}"/>
                    </a:ext>
                  </a:extLst>
                </p:cNvPr>
                <p:cNvPicPr/>
                <p:nvPr/>
              </p:nvPicPr>
              <p:blipFill>
                <a:blip r:embed="rId114"/>
                <a:stretch>
                  <a:fillRect/>
                </a:stretch>
              </p:blipFill>
              <p:spPr>
                <a:xfrm>
                  <a:off x="4301323" y="2275695"/>
                  <a:ext cx="146520" cy="71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5">
              <p14:nvContentPartPr>
                <p14:cNvPr id="95" name="Freihand 94">
                  <a:extLst>
                    <a:ext uri="{FF2B5EF4-FFF2-40B4-BE49-F238E27FC236}">
                      <a16:creationId xmlns:a16="http://schemas.microsoft.com/office/drawing/2014/main" id="{9732752E-D58F-AA2B-3C50-F868823962C9}"/>
                    </a:ext>
                  </a:extLst>
                </p14:cNvPr>
                <p14:cNvContentPartPr/>
                <p14:nvPr/>
              </p14:nvContentPartPr>
              <p14:xfrm>
                <a:off x="4526683" y="2100375"/>
                <a:ext cx="70200" cy="289800"/>
              </p14:xfrm>
            </p:contentPart>
          </mc:Choice>
          <mc:Fallback>
            <p:pic>
              <p:nvPicPr>
                <p:cNvPr id="95" name="Freihand 94">
                  <a:extLst>
                    <a:ext uri="{FF2B5EF4-FFF2-40B4-BE49-F238E27FC236}">
                      <a16:creationId xmlns:a16="http://schemas.microsoft.com/office/drawing/2014/main" id="{9732752E-D58F-AA2B-3C50-F868823962C9}"/>
                    </a:ext>
                  </a:extLst>
                </p:cNvPr>
                <p:cNvPicPr/>
                <p:nvPr/>
              </p:nvPicPr>
              <p:blipFill>
                <a:blip r:embed="rId116"/>
                <a:stretch>
                  <a:fillRect/>
                </a:stretch>
              </p:blipFill>
              <p:spPr>
                <a:xfrm>
                  <a:off x="4509043" y="2082375"/>
                  <a:ext cx="105840" cy="325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7">
              <p14:nvContentPartPr>
                <p14:cNvPr id="96" name="Freihand 95">
                  <a:extLst>
                    <a:ext uri="{FF2B5EF4-FFF2-40B4-BE49-F238E27FC236}">
                      <a16:creationId xmlns:a16="http://schemas.microsoft.com/office/drawing/2014/main" id="{C8D5A528-2EA4-C2BD-D5D2-F5674C33B03F}"/>
                    </a:ext>
                  </a:extLst>
                </p14:cNvPr>
                <p14:cNvContentPartPr/>
                <p14:nvPr/>
              </p14:nvContentPartPr>
              <p14:xfrm>
                <a:off x="4456123" y="2168775"/>
                <a:ext cx="183600" cy="68760"/>
              </p14:xfrm>
            </p:contentPart>
          </mc:Choice>
          <mc:Fallback>
            <p:pic>
              <p:nvPicPr>
                <p:cNvPr id="96" name="Freihand 95">
                  <a:extLst>
                    <a:ext uri="{FF2B5EF4-FFF2-40B4-BE49-F238E27FC236}">
                      <a16:creationId xmlns:a16="http://schemas.microsoft.com/office/drawing/2014/main" id="{C8D5A528-2EA4-C2BD-D5D2-F5674C33B03F}"/>
                    </a:ext>
                  </a:extLst>
                </p:cNvPr>
                <p:cNvPicPr/>
                <p:nvPr/>
              </p:nvPicPr>
              <p:blipFill>
                <a:blip r:embed="rId118"/>
                <a:stretch>
                  <a:fillRect/>
                </a:stretch>
              </p:blipFill>
              <p:spPr>
                <a:xfrm>
                  <a:off x="4438123" y="2151135"/>
                  <a:ext cx="219240" cy="104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19">
              <p14:nvContentPartPr>
                <p14:cNvPr id="97" name="Freihand 96">
                  <a:extLst>
                    <a:ext uri="{FF2B5EF4-FFF2-40B4-BE49-F238E27FC236}">
                      <a16:creationId xmlns:a16="http://schemas.microsoft.com/office/drawing/2014/main" id="{D10C6137-4E33-14C7-87FE-F6743F79FB0F}"/>
                    </a:ext>
                  </a:extLst>
                </p14:cNvPr>
                <p14:cNvContentPartPr/>
                <p14:nvPr/>
              </p14:nvContentPartPr>
              <p14:xfrm>
                <a:off x="4572763" y="2282895"/>
                <a:ext cx="117360" cy="192240"/>
              </p14:xfrm>
            </p:contentPart>
          </mc:Choice>
          <mc:Fallback>
            <p:pic>
              <p:nvPicPr>
                <p:cNvPr id="97" name="Freihand 96">
                  <a:extLst>
                    <a:ext uri="{FF2B5EF4-FFF2-40B4-BE49-F238E27FC236}">
                      <a16:creationId xmlns:a16="http://schemas.microsoft.com/office/drawing/2014/main" id="{D10C6137-4E33-14C7-87FE-F6743F79FB0F}"/>
                    </a:ext>
                  </a:extLst>
                </p:cNvPr>
                <p:cNvPicPr/>
                <p:nvPr/>
              </p:nvPicPr>
              <p:blipFill>
                <a:blip r:embed="rId120"/>
                <a:stretch>
                  <a:fillRect/>
                </a:stretch>
              </p:blipFill>
              <p:spPr>
                <a:xfrm>
                  <a:off x="4554763" y="2265255"/>
                  <a:ext cx="153000" cy="227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1">
              <p14:nvContentPartPr>
                <p14:cNvPr id="100" name="Freihand 99">
                  <a:extLst>
                    <a:ext uri="{FF2B5EF4-FFF2-40B4-BE49-F238E27FC236}">
                      <a16:creationId xmlns:a16="http://schemas.microsoft.com/office/drawing/2014/main" id="{08037F8E-27F3-B657-B9A6-054BBB095F6C}"/>
                    </a:ext>
                  </a:extLst>
                </p14:cNvPr>
                <p14:cNvContentPartPr/>
                <p14:nvPr/>
              </p14:nvContentPartPr>
              <p14:xfrm>
                <a:off x="4763563" y="2278935"/>
                <a:ext cx="18360" cy="11160"/>
              </p14:xfrm>
            </p:contentPart>
          </mc:Choice>
          <mc:Fallback>
            <p:pic>
              <p:nvPicPr>
                <p:cNvPr id="100" name="Freihand 99">
                  <a:extLst>
                    <a:ext uri="{FF2B5EF4-FFF2-40B4-BE49-F238E27FC236}">
                      <a16:creationId xmlns:a16="http://schemas.microsoft.com/office/drawing/2014/main" id="{08037F8E-27F3-B657-B9A6-054BBB095F6C}"/>
                    </a:ext>
                  </a:extLst>
                </p:cNvPr>
                <p:cNvPicPr/>
                <p:nvPr/>
              </p:nvPicPr>
              <p:blipFill>
                <a:blip r:embed="rId122"/>
                <a:stretch>
                  <a:fillRect/>
                </a:stretch>
              </p:blipFill>
              <p:spPr>
                <a:xfrm>
                  <a:off x="4745923" y="2260935"/>
                  <a:ext cx="54000" cy="46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3">
              <p14:nvContentPartPr>
                <p14:cNvPr id="104" name="Freihand 103">
                  <a:extLst>
                    <a:ext uri="{FF2B5EF4-FFF2-40B4-BE49-F238E27FC236}">
                      <a16:creationId xmlns:a16="http://schemas.microsoft.com/office/drawing/2014/main" id="{8F9D9748-6F05-0567-24E5-9A62B9379D8F}"/>
                    </a:ext>
                  </a:extLst>
                </p14:cNvPr>
                <p14:cNvContentPartPr/>
                <p14:nvPr/>
              </p14:nvContentPartPr>
              <p14:xfrm>
                <a:off x="4770403" y="2258415"/>
                <a:ext cx="66240" cy="56880"/>
              </p14:xfrm>
            </p:contentPart>
          </mc:Choice>
          <mc:Fallback>
            <p:pic>
              <p:nvPicPr>
                <p:cNvPr id="104" name="Freihand 103">
                  <a:extLst>
                    <a:ext uri="{FF2B5EF4-FFF2-40B4-BE49-F238E27FC236}">
                      <a16:creationId xmlns:a16="http://schemas.microsoft.com/office/drawing/2014/main" id="{8F9D9748-6F05-0567-24E5-9A62B9379D8F}"/>
                    </a:ext>
                  </a:extLst>
                </p:cNvPr>
                <p:cNvPicPr/>
                <p:nvPr/>
              </p:nvPicPr>
              <p:blipFill>
                <a:blip r:embed="rId124"/>
                <a:stretch>
                  <a:fillRect/>
                </a:stretch>
              </p:blipFill>
              <p:spPr>
                <a:xfrm>
                  <a:off x="4752403" y="2240775"/>
                  <a:ext cx="101880" cy="92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55F5795B-ADF5-AE89-D8AF-247B5130B39C}"/>
              </a:ext>
            </a:extLst>
          </p:cNvPr>
          <p:cNvGrpSpPr/>
          <p:nvPr/>
        </p:nvGrpSpPr>
        <p:grpSpPr>
          <a:xfrm>
            <a:off x="4911883" y="2034135"/>
            <a:ext cx="646200" cy="447480"/>
            <a:chOff x="4911883" y="2034135"/>
            <a:chExt cx="646200" cy="4474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25">
              <p14:nvContentPartPr>
                <p14:cNvPr id="106" name="Freihand 105">
                  <a:extLst>
                    <a:ext uri="{FF2B5EF4-FFF2-40B4-BE49-F238E27FC236}">
                      <a16:creationId xmlns:a16="http://schemas.microsoft.com/office/drawing/2014/main" id="{19125B3A-7D79-42B1-0D7F-3412FB5A9AE7}"/>
                    </a:ext>
                  </a:extLst>
                </p14:cNvPr>
                <p14:cNvContentPartPr/>
                <p14:nvPr/>
              </p14:nvContentPartPr>
              <p14:xfrm>
                <a:off x="4991803" y="2034135"/>
                <a:ext cx="37440" cy="435240"/>
              </p14:xfrm>
            </p:contentPart>
          </mc:Choice>
          <mc:Fallback>
            <p:pic>
              <p:nvPicPr>
                <p:cNvPr id="106" name="Freihand 105">
                  <a:extLst>
                    <a:ext uri="{FF2B5EF4-FFF2-40B4-BE49-F238E27FC236}">
                      <a16:creationId xmlns:a16="http://schemas.microsoft.com/office/drawing/2014/main" id="{19125B3A-7D79-42B1-0D7F-3412FB5A9AE7}"/>
                    </a:ext>
                  </a:extLst>
                </p:cNvPr>
                <p:cNvPicPr/>
                <p:nvPr/>
              </p:nvPicPr>
              <p:blipFill>
                <a:blip r:embed="rId126"/>
                <a:stretch>
                  <a:fillRect/>
                </a:stretch>
              </p:blipFill>
              <p:spPr>
                <a:xfrm>
                  <a:off x="4973803" y="2016495"/>
                  <a:ext cx="7308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7">
              <p14:nvContentPartPr>
                <p14:cNvPr id="107" name="Freihand 106">
                  <a:extLst>
                    <a:ext uri="{FF2B5EF4-FFF2-40B4-BE49-F238E27FC236}">
                      <a16:creationId xmlns:a16="http://schemas.microsoft.com/office/drawing/2014/main" id="{E31A963B-F6E0-3DF2-8607-6892FDE5D358}"/>
                    </a:ext>
                  </a:extLst>
                </p14:cNvPr>
                <p14:cNvContentPartPr/>
                <p14:nvPr/>
              </p14:nvContentPartPr>
              <p14:xfrm>
                <a:off x="4911883" y="2171655"/>
                <a:ext cx="210240" cy="21960"/>
              </p14:xfrm>
            </p:contentPart>
          </mc:Choice>
          <mc:Fallback>
            <p:pic>
              <p:nvPicPr>
                <p:cNvPr id="107" name="Freihand 106">
                  <a:extLst>
                    <a:ext uri="{FF2B5EF4-FFF2-40B4-BE49-F238E27FC236}">
                      <a16:creationId xmlns:a16="http://schemas.microsoft.com/office/drawing/2014/main" id="{E31A963B-F6E0-3DF2-8607-6892FDE5D358}"/>
                    </a:ext>
                  </a:extLst>
                </p:cNvPr>
                <p:cNvPicPr/>
                <p:nvPr/>
              </p:nvPicPr>
              <p:blipFill>
                <a:blip r:embed="rId128"/>
                <a:stretch>
                  <a:fillRect/>
                </a:stretch>
              </p:blipFill>
              <p:spPr>
                <a:xfrm>
                  <a:off x="4894243" y="2154015"/>
                  <a:ext cx="245880" cy="57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29">
              <p14:nvContentPartPr>
                <p14:cNvPr id="108" name="Freihand 107">
                  <a:extLst>
                    <a:ext uri="{FF2B5EF4-FFF2-40B4-BE49-F238E27FC236}">
                      <a16:creationId xmlns:a16="http://schemas.microsoft.com/office/drawing/2014/main" id="{FF281BE7-CFC2-E962-C4B4-BED7A5FD7B32}"/>
                    </a:ext>
                  </a:extLst>
                </p14:cNvPr>
                <p14:cNvContentPartPr/>
                <p14:nvPr/>
              </p14:nvContentPartPr>
              <p14:xfrm>
                <a:off x="5130403" y="2260935"/>
                <a:ext cx="26280" cy="43920"/>
              </p14:xfrm>
            </p:contentPart>
          </mc:Choice>
          <mc:Fallback>
            <p:pic>
              <p:nvPicPr>
                <p:cNvPr id="108" name="Freihand 107">
                  <a:extLst>
                    <a:ext uri="{FF2B5EF4-FFF2-40B4-BE49-F238E27FC236}">
                      <a16:creationId xmlns:a16="http://schemas.microsoft.com/office/drawing/2014/main" id="{FF281BE7-CFC2-E962-C4B4-BED7A5FD7B32}"/>
                    </a:ext>
                  </a:extLst>
                </p:cNvPr>
                <p:cNvPicPr/>
                <p:nvPr/>
              </p:nvPicPr>
              <p:blipFill>
                <a:blip r:embed="rId130"/>
                <a:stretch>
                  <a:fillRect/>
                </a:stretch>
              </p:blipFill>
              <p:spPr>
                <a:xfrm>
                  <a:off x="5112403" y="2242935"/>
                  <a:ext cx="61920" cy="7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1">
              <p14:nvContentPartPr>
                <p14:cNvPr id="109" name="Freihand 108">
                  <a:extLst>
                    <a:ext uri="{FF2B5EF4-FFF2-40B4-BE49-F238E27FC236}">
                      <a16:creationId xmlns:a16="http://schemas.microsoft.com/office/drawing/2014/main" id="{CB2B72B6-57FC-26FD-9AC5-D5F67E24539B}"/>
                    </a:ext>
                  </a:extLst>
                </p14:cNvPr>
                <p14:cNvContentPartPr/>
                <p14:nvPr/>
              </p14:nvContentPartPr>
              <p14:xfrm>
                <a:off x="5254243" y="2162295"/>
                <a:ext cx="164160" cy="245160"/>
              </p14:xfrm>
            </p:contentPart>
          </mc:Choice>
          <mc:Fallback>
            <p:pic>
              <p:nvPicPr>
                <p:cNvPr id="109" name="Freihand 108">
                  <a:extLst>
                    <a:ext uri="{FF2B5EF4-FFF2-40B4-BE49-F238E27FC236}">
                      <a16:creationId xmlns:a16="http://schemas.microsoft.com/office/drawing/2014/main" id="{CB2B72B6-57FC-26FD-9AC5-D5F67E24539B}"/>
                    </a:ext>
                  </a:extLst>
                </p:cNvPr>
                <p:cNvPicPr/>
                <p:nvPr/>
              </p:nvPicPr>
              <p:blipFill>
                <a:blip r:embed="rId132"/>
                <a:stretch>
                  <a:fillRect/>
                </a:stretch>
              </p:blipFill>
              <p:spPr>
                <a:xfrm>
                  <a:off x="5236243" y="2144295"/>
                  <a:ext cx="199800" cy="28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3">
              <p14:nvContentPartPr>
                <p14:cNvPr id="110" name="Freihand 109">
                  <a:extLst>
                    <a:ext uri="{FF2B5EF4-FFF2-40B4-BE49-F238E27FC236}">
                      <a16:creationId xmlns:a16="http://schemas.microsoft.com/office/drawing/2014/main" id="{E133D1E2-37C3-5232-9599-D1FD45F57D32}"/>
                    </a:ext>
                  </a:extLst>
                </p14:cNvPr>
                <p14:cNvContentPartPr/>
                <p14:nvPr/>
              </p14:nvContentPartPr>
              <p14:xfrm>
                <a:off x="5460163" y="2283255"/>
                <a:ext cx="97920" cy="198360"/>
              </p14:xfrm>
            </p:contentPart>
          </mc:Choice>
          <mc:Fallback>
            <p:pic>
              <p:nvPicPr>
                <p:cNvPr id="110" name="Freihand 109">
                  <a:extLst>
                    <a:ext uri="{FF2B5EF4-FFF2-40B4-BE49-F238E27FC236}">
                      <a16:creationId xmlns:a16="http://schemas.microsoft.com/office/drawing/2014/main" id="{E133D1E2-37C3-5232-9599-D1FD45F57D32}"/>
                    </a:ext>
                  </a:extLst>
                </p:cNvPr>
                <p:cNvPicPr/>
                <p:nvPr/>
              </p:nvPicPr>
              <p:blipFill>
                <a:blip r:embed="rId134"/>
                <a:stretch>
                  <a:fillRect/>
                </a:stretch>
              </p:blipFill>
              <p:spPr>
                <a:xfrm>
                  <a:off x="5442523" y="2265615"/>
                  <a:ext cx="133560" cy="234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14" name="Gruppieren 113">
            <a:extLst>
              <a:ext uri="{FF2B5EF4-FFF2-40B4-BE49-F238E27FC236}">
                <a16:creationId xmlns:a16="http://schemas.microsoft.com/office/drawing/2014/main" id="{60DF1BA4-880E-D4F4-EA92-9120BA190381}"/>
              </a:ext>
            </a:extLst>
          </p:cNvPr>
          <p:cNvGrpSpPr/>
          <p:nvPr/>
        </p:nvGrpSpPr>
        <p:grpSpPr>
          <a:xfrm>
            <a:off x="5733403" y="2111895"/>
            <a:ext cx="229320" cy="309240"/>
            <a:chOff x="5733403" y="2111895"/>
            <a:chExt cx="229320" cy="309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5">
              <p14:nvContentPartPr>
                <p14:cNvPr id="112" name="Freihand 111">
                  <a:extLst>
                    <a:ext uri="{FF2B5EF4-FFF2-40B4-BE49-F238E27FC236}">
                      <a16:creationId xmlns:a16="http://schemas.microsoft.com/office/drawing/2014/main" id="{D2EA571E-3E94-B3B8-1E8E-1BBCD581520D}"/>
                    </a:ext>
                  </a:extLst>
                </p14:cNvPr>
                <p14:cNvContentPartPr/>
                <p14:nvPr/>
              </p14:nvContentPartPr>
              <p14:xfrm>
                <a:off x="5733403" y="2235735"/>
                <a:ext cx="229320" cy="26280"/>
              </p14:xfrm>
            </p:contentPart>
          </mc:Choice>
          <mc:Fallback>
            <p:pic>
              <p:nvPicPr>
                <p:cNvPr id="112" name="Freihand 111">
                  <a:extLst>
                    <a:ext uri="{FF2B5EF4-FFF2-40B4-BE49-F238E27FC236}">
                      <a16:creationId xmlns:a16="http://schemas.microsoft.com/office/drawing/2014/main" id="{D2EA571E-3E94-B3B8-1E8E-1BBCD581520D}"/>
                    </a:ext>
                  </a:extLst>
                </p:cNvPr>
                <p:cNvPicPr/>
                <p:nvPr/>
              </p:nvPicPr>
              <p:blipFill>
                <a:blip r:embed="rId136"/>
                <a:stretch>
                  <a:fillRect/>
                </a:stretch>
              </p:blipFill>
              <p:spPr>
                <a:xfrm>
                  <a:off x="5715403" y="2218095"/>
                  <a:ext cx="264960" cy="61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7">
              <p14:nvContentPartPr>
                <p14:cNvPr id="113" name="Freihand 112">
                  <a:extLst>
                    <a:ext uri="{FF2B5EF4-FFF2-40B4-BE49-F238E27FC236}">
                      <a16:creationId xmlns:a16="http://schemas.microsoft.com/office/drawing/2014/main" id="{C70625C2-A3FF-86EE-4B5F-16DB375007B3}"/>
                    </a:ext>
                  </a:extLst>
                </p14:cNvPr>
                <p14:cNvContentPartPr/>
                <p14:nvPr/>
              </p14:nvContentPartPr>
              <p14:xfrm>
                <a:off x="5810083" y="2111895"/>
                <a:ext cx="52560" cy="309240"/>
              </p14:xfrm>
            </p:contentPart>
          </mc:Choice>
          <mc:Fallback>
            <p:pic>
              <p:nvPicPr>
                <p:cNvPr id="113" name="Freihand 112">
                  <a:extLst>
                    <a:ext uri="{FF2B5EF4-FFF2-40B4-BE49-F238E27FC236}">
                      <a16:creationId xmlns:a16="http://schemas.microsoft.com/office/drawing/2014/main" id="{C70625C2-A3FF-86EE-4B5F-16DB375007B3}"/>
                    </a:ext>
                  </a:extLst>
                </p:cNvPr>
                <p:cNvPicPr/>
                <p:nvPr/>
              </p:nvPicPr>
              <p:blipFill>
                <a:blip r:embed="rId138"/>
                <a:stretch>
                  <a:fillRect/>
                </a:stretch>
              </p:blipFill>
              <p:spPr>
                <a:xfrm>
                  <a:off x="5792083" y="2093895"/>
                  <a:ext cx="88200" cy="344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10F56C5E-9FAE-6FBF-33E2-0FE5BB38F415}"/>
              </a:ext>
            </a:extLst>
          </p:cNvPr>
          <p:cNvGrpSpPr/>
          <p:nvPr/>
        </p:nvGrpSpPr>
        <p:grpSpPr>
          <a:xfrm>
            <a:off x="6757963" y="2123415"/>
            <a:ext cx="588960" cy="38160"/>
            <a:chOff x="6757963" y="2123415"/>
            <a:chExt cx="588960" cy="381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39">
              <p14:nvContentPartPr>
                <p14:cNvPr id="121" name="Freihand 120">
                  <a:extLst>
                    <a:ext uri="{FF2B5EF4-FFF2-40B4-BE49-F238E27FC236}">
                      <a16:creationId xmlns:a16="http://schemas.microsoft.com/office/drawing/2014/main" id="{C971CF70-1FEF-C396-6701-1917DE7C1A83}"/>
                    </a:ext>
                  </a:extLst>
                </p14:cNvPr>
                <p14:cNvContentPartPr/>
                <p14:nvPr/>
              </p14:nvContentPartPr>
              <p14:xfrm>
                <a:off x="6757963" y="2123415"/>
                <a:ext cx="76320" cy="10440"/>
              </p14:xfrm>
            </p:contentPart>
          </mc:Choice>
          <mc:Fallback>
            <p:pic>
              <p:nvPicPr>
                <p:cNvPr id="121" name="Freihand 120">
                  <a:extLst>
                    <a:ext uri="{FF2B5EF4-FFF2-40B4-BE49-F238E27FC236}">
                      <a16:creationId xmlns:a16="http://schemas.microsoft.com/office/drawing/2014/main" id="{C971CF70-1FEF-C396-6701-1917DE7C1A83}"/>
                    </a:ext>
                  </a:extLst>
                </p:cNvPr>
                <p:cNvPicPr/>
                <p:nvPr/>
              </p:nvPicPr>
              <p:blipFill>
                <a:blip r:embed="rId140"/>
                <a:stretch>
                  <a:fillRect/>
                </a:stretch>
              </p:blipFill>
              <p:spPr>
                <a:xfrm>
                  <a:off x="6739963" y="2105775"/>
                  <a:ext cx="111960" cy="4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1">
              <p14:nvContentPartPr>
                <p14:cNvPr id="134" name="Freihand 133">
                  <a:extLst>
                    <a:ext uri="{FF2B5EF4-FFF2-40B4-BE49-F238E27FC236}">
                      <a16:creationId xmlns:a16="http://schemas.microsoft.com/office/drawing/2014/main" id="{963B193E-D83F-5173-0963-402EC818F8E4}"/>
                    </a:ext>
                  </a:extLst>
                </p14:cNvPr>
                <p14:cNvContentPartPr/>
                <p14:nvPr/>
              </p14:nvContentPartPr>
              <p14:xfrm>
                <a:off x="7305163" y="2128815"/>
                <a:ext cx="41760" cy="32760"/>
              </p14:xfrm>
            </p:contentPart>
          </mc:Choice>
          <mc:Fallback>
            <p:pic>
              <p:nvPicPr>
                <p:cNvPr id="134" name="Freihand 133">
                  <a:extLst>
                    <a:ext uri="{FF2B5EF4-FFF2-40B4-BE49-F238E27FC236}">
                      <a16:creationId xmlns:a16="http://schemas.microsoft.com/office/drawing/2014/main" id="{963B193E-D83F-5173-0963-402EC818F8E4}"/>
                    </a:ext>
                  </a:extLst>
                </p:cNvPr>
                <p:cNvPicPr/>
                <p:nvPr/>
              </p:nvPicPr>
              <p:blipFill>
                <a:blip r:embed="rId142"/>
                <a:stretch>
                  <a:fillRect/>
                </a:stretch>
              </p:blipFill>
              <p:spPr>
                <a:xfrm>
                  <a:off x="7287523" y="2110815"/>
                  <a:ext cx="77400" cy="68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FFCCE9CB-9D7A-C725-2FFE-462E59BE67F2}"/>
              </a:ext>
            </a:extLst>
          </p:cNvPr>
          <p:cNvGrpSpPr/>
          <p:nvPr/>
        </p:nvGrpSpPr>
        <p:grpSpPr>
          <a:xfrm>
            <a:off x="3819283" y="1283895"/>
            <a:ext cx="2405880" cy="529920"/>
            <a:chOff x="3819283" y="1283895"/>
            <a:chExt cx="2405880" cy="529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43">
              <p14:nvContentPartPr>
                <p14:cNvPr id="30" name="Freihand 29">
                  <a:extLst>
                    <a:ext uri="{FF2B5EF4-FFF2-40B4-BE49-F238E27FC236}">
                      <a16:creationId xmlns:a16="http://schemas.microsoft.com/office/drawing/2014/main" id="{5FB26B5A-6EF0-AE08-7837-B96C8FA70B68}"/>
                    </a:ext>
                  </a:extLst>
                </p14:cNvPr>
                <p14:cNvContentPartPr/>
                <p14:nvPr/>
              </p14:nvContentPartPr>
              <p14:xfrm>
                <a:off x="3866083" y="1426815"/>
                <a:ext cx="14040" cy="302760"/>
              </p14:xfrm>
            </p:contentPart>
          </mc:Choice>
          <mc:Fallback>
            <p:pic>
              <p:nvPicPr>
                <p:cNvPr id="30" name="Freihand 29">
                  <a:extLst>
                    <a:ext uri="{FF2B5EF4-FFF2-40B4-BE49-F238E27FC236}">
                      <a16:creationId xmlns:a16="http://schemas.microsoft.com/office/drawing/2014/main" id="{5FB26B5A-6EF0-AE08-7837-B96C8FA70B68}"/>
                    </a:ext>
                  </a:extLst>
                </p:cNvPr>
                <p:cNvPicPr/>
                <p:nvPr/>
              </p:nvPicPr>
              <p:blipFill>
                <a:blip r:embed="rId144"/>
                <a:stretch>
                  <a:fillRect/>
                </a:stretch>
              </p:blipFill>
              <p:spPr>
                <a:xfrm>
                  <a:off x="3848443" y="1408815"/>
                  <a:ext cx="49680" cy="338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5">
              <p14:nvContentPartPr>
                <p14:cNvPr id="31" name="Freihand 30">
                  <a:extLst>
                    <a:ext uri="{FF2B5EF4-FFF2-40B4-BE49-F238E27FC236}">
                      <a16:creationId xmlns:a16="http://schemas.microsoft.com/office/drawing/2014/main" id="{3DFE0EF9-A0AC-2FE9-0AC6-2E3145891854}"/>
                    </a:ext>
                  </a:extLst>
                </p14:cNvPr>
                <p14:cNvContentPartPr/>
                <p14:nvPr/>
              </p14:nvContentPartPr>
              <p14:xfrm>
                <a:off x="3819283" y="1551735"/>
                <a:ext cx="180000" cy="38880"/>
              </p14:xfrm>
            </p:contentPart>
          </mc:Choice>
          <mc:Fallback>
            <p:pic>
              <p:nvPicPr>
                <p:cNvPr id="31" name="Freihand 30">
                  <a:extLst>
                    <a:ext uri="{FF2B5EF4-FFF2-40B4-BE49-F238E27FC236}">
                      <a16:creationId xmlns:a16="http://schemas.microsoft.com/office/drawing/2014/main" id="{3DFE0EF9-A0AC-2FE9-0AC6-2E3145891854}"/>
                    </a:ext>
                  </a:extLst>
                </p:cNvPr>
                <p:cNvPicPr/>
                <p:nvPr/>
              </p:nvPicPr>
              <p:blipFill>
                <a:blip r:embed="rId146"/>
                <a:stretch>
                  <a:fillRect/>
                </a:stretch>
              </p:blipFill>
              <p:spPr>
                <a:xfrm>
                  <a:off x="3801283" y="1534095"/>
                  <a:ext cx="215640" cy="74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7">
              <p14:nvContentPartPr>
                <p14:cNvPr id="33" name="Freihand 32">
                  <a:extLst>
                    <a:ext uri="{FF2B5EF4-FFF2-40B4-BE49-F238E27FC236}">
                      <a16:creationId xmlns:a16="http://schemas.microsoft.com/office/drawing/2014/main" id="{3B1C9366-5DAB-7314-8479-99AB8F4A64FF}"/>
                    </a:ext>
                  </a:extLst>
                </p14:cNvPr>
                <p14:cNvContentPartPr/>
                <p14:nvPr/>
              </p14:nvContentPartPr>
              <p14:xfrm>
                <a:off x="4011163" y="1611135"/>
                <a:ext cx="19440" cy="11520"/>
              </p14:xfrm>
            </p:contentPart>
          </mc:Choice>
          <mc:Fallback>
            <p:pic>
              <p:nvPicPr>
                <p:cNvPr id="33" name="Freihand 32">
                  <a:extLst>
                    <a:ext uri="{FF2B5EF4-FFF2-40B4-BE49-F238E27FC236}">
                      <a16:creationId xmlns:a16="http://schemas.microsoft.com/office/drawing/2014/main" id="{3B1C9366-5DAB-7314-8479-99AB8F4A64FF}"/>
                    </a:ext>
                  </a:extLst>
                </p:cNvPr>
                <p:cNvPicPr/>
                <p:nvPr/>
              </p:nvPicPr>
              <p:blipFill>
                <a:blip r:embed="rId148"/>
                <a:stretch>
                  <a:fillRect/>
                </a:stretch>
              </p:blipFill>
              <p:spPr>
                <a:xfrm>
                  <a:off x="3993523" y="1593495"/>
                  <a:ext cx="55080" cy="47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49">
              <p14:nvContentPartPr>
                <p14:cNvPr id="34" name="Freihand 33">
                  <a:extLst>
                    <a:ext uri="{FF2B5EF4-FFF2-40B4-BE49-F238E27FC236}">
                      <a16:creationId xmlns:a16="http://schemas.microsoft.com/office/drawing/2014/main" id="{E0419D2D-E7DC-5E88-F100-D9D955BDC213}"/>
                    </a:ext>
                  </a:extLst>
                </p14:cNvPr>
                <p14:cNvContentPartPr/>
                <p14:nvPr/>
              </p14:nvContentPartPr>
              <p14:xfrm>
                <a:off x="4132843" y="1499175"/>
                <a:ext cx="112320" cy="163800"/>
              </p14:xfrm>
            </p:contentPart>
          </mc:Choice>
          <mc:Fallback>
            <p:pic>
              <p:nvPicPr>
                <p:cNvPr id="34" name="Freihand 33">
                  <a:extLst>
                    <a:ext uri="{FF2B5EF4-FFF2-40B4-BE49-F238E27FC236}">
                      <a16:creationId xmlns:a16="http://schemas.microsoft.com/office/drawing/2014/main" id="{E0419D2D-E7DC-5E88-F100-D9D955BDC213}"/>
                    </a:ext>
                  </a:extLst>
                </p:cNvPr>
                <p:cNvPicPr/>
                <p:nvPr/>
              </p:nvPicPr>
              <p:blipFill>
                <a:blip r:embed="rId150"/>
                <a:stretch>
                  <a:fillRect/>
                </a:stretch>
              </p:blipFill>
              <p:spPr>
                <a:xfrm>
                  <a:off x="4114843" y="1481535"/>
                  <a:ext cx="147960" cy="199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1">
              <p14:nvContentPartPr>
                <p14:cNvPr id="35" name="Freihand 34">
                  <a:extLst>
                    <a:ext uri="{FF2B5EF4-FFF2-40B4-BE49-F238E27FC236}">
                      <a16:creationId xmlns:a16="http://schemas.microsoft.com/office/drawing/2014/main" id="{06117595-E50C-CCE7-D3AE-F0EC86C4427B}"/>
                    </a:ext>
                  </a:extLst>
                </p14:cNvPr>
                <p14:cNvContentPartPr/>
                <p14:nvPr/>
              </p14:nvContentPartPr>
              <p14:xfrm>
                <a:off x="4303123" y="1551735"/>
                <a:ext cx="64080" cy="117360"/>
              </p14:xfrm>
            </p:contentPart>
          </mc:Choice>
          <mc:Fallback>
            <p:pic>
              <p:nvPicPr>
                <p:cNvPr id="35" name="Freihand 34">
                  <a:extLst>
                    <a:ext uri="{FF2B5EF4-FFF2-40B4-BE49-F238E27FC236}">
                      <a16:creationId xmlns:a16="http://schemas.microsoft.com/office/drawing/2014/main" id="{06117595-E50C-CCE7-D3AE-F0EC86C4427B}"/>
                    </a:ext>
                  </a:extLst>
                </p:cNvPr>
                <p:cNvPicPr/>
                <p:nvPr/>
              </p:nvPicPr>
              <p:blipFill>
                <a:blip r:embed="rId152"/>
                <a:stretch>
                  <a:fillRect/>
                </a:stretch>
              </p:blipFill>
              <p:spPr>
                <a:xfrm>
                  <a:off x="4285483" y="1534095"/>
                  <a:ext cx="99720" cy="15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3">
              <p14:nvContentPartPr>
                <p14:cNvPr id="37" name="Freihand 36">
                  <a:extLst>
                    <a:ext uri="{FF2B5EF4-FFF2-40B4-BE49-F238E27FC236}">
                      <a16:creationId xmlns:a16="http://schemas.microsoft.com/office/drawing/2014/main" id="{354AFDEE-425F-2439-1E9C-AC4A034276DD}"/>
                    </a:ext>
                  </a:extLst>
                </p14:cNvPr>
                <p14:cNvContentPartPr/>
                <p14:nvPr/>
              </p14:nvContentPartPr>
              <p14:xfrm>
                <a:off x="4447843" y="1362375"/>
                <a:ext cx="62640" cy="451440"/>
              </p14:xfrm>
            </p:contentPart>
          </mc:Choice>
          <mc:Fallback>
            <p:pic>
              <p:nvPicPr>
                <p:cNvPr id="37" name="Freihand 36">
                  <a:extLst>
                    <a:ext uri="{FF2B5EF4-FFF2-40B4-BE49-F238E27FC236}">
                      <a16:creationId xmlns:a16="http://schemas.microsoft.com/office/drawing/2014/main" id="{354AFDEE-425F-2439-1E9C-AC4A034276DD}"/>
                    </a:ext>
                  </a:extLst>
                </p:cNvPr>
                <p:cNvPicPr/>
                <p:nvPr/>
              </p:nvPicPr>
              <p:blipFill>
                <a:blip r:embed="rId154"/>
                <a:stretch>
                  <a:fillRect/>
                </a:stretch>
              </p:blipFill>
              <p:spPr>
                <a:xfrm>
                  <a:off x="4429843" y="1344375"/>
                  <a:ext cx="98280" cy="48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5">
              <p14:nvContentPartPr>
                <p14:cNvPr id="39" name="Freihand 38">
                  <a:extLst>
                    <a:ext uri="{FF2B5EF4-FFF2-40B4-BE49-F238E27FC236}">
                      <a16:creationId xmlns:a16="http://schemas.microsoft.com/office/drawing/2014/main" id="{20EB942E-D063-4A42-5EEF-2E7CABF64A36}"/>
                    </a:ext>
                  </a:extLst>
                </p14:cNvPr>
                <p14:cNvContentPartPr/>
                <p14:nvPr/>
              </p14:nvContentPartPr>
              <p14:xfrm>
                <a:off x="4635043" y="1571895"/>
                <a:ext cx="133200" cy="22320"/>
              </p14:xfrm>
            </p:contentPart>
          </mc:Choice>
          <mc:Fallback>
            <p:pic>
              <p:nvPicPr>
                <p:cNvPr id="39" name="Freihand 38">
                  <a:extLst>
                    <a:ext uri="{FF2B5EF4-FFF2-40B4-BE49-F238E27FC236}">
                      <a16:creationId xmlns:a16="http://schemas.microsoft.com/office/drawing/2014/main" id="{20EB942E-D063-4A42-5EEF-2E7CABF64A36}"/>
                    </a:ext>
                  </a:extLst>
                </p:cNvPr>
                <p:cNvPicPr/>
                <p:nvPr/>
              </p:nvPicPr>
              <p:blipFill>
                <a:blip r:embed="rId156"/>
                <a:stretch>
                  <a:fillRect/>
                </a:stretch>
              </p:blipFill>
              <p:spPr>
                <a:xfrm>
                  <a:off x="4617403" y="1553895"/>
                  <a:ext cx="168840" cy="5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7">
              <p14:nvContentPartPr>
                <p14:cNvPr id="40" name="Freihand 39">
                  <a:extLst>
                    <a:ext uri="{FF2B5EF4-FFF2-40B4-BE49-F238E27FC236}">
                      <a16:creationId xmlns:a16="http://schemas.microsoft.com/office/drawing/2014/main" id="{581B1C9A-A2CD-167D-C660-0DE44719E7FF}"/>
                    </a:ext>
                  </a:extLst>
                </p14:cNvPr>
                <p14:cNvContentPartPr/>
                <p14:nvPr/>
              </p14:nvContentPartPr>
              <p14:xfrm>
                <a:off x="4691563" y="1481175"/>
                <a:ext cx="27000" cy="198000"/>
              </p14:xfrm>
            </p:contentPart>
          </mc:Choice>
          <mc:Fallback>
            <p:pic>
              <p:nvPicPr>
                <p:cNvPr id="40" name="Freihand 39">
                  <a:extLst>
                    <a:ext uri="{FF2B5EF4-FFF2-40B4-BE49-F238E27FC236}">
                      <a16:creationId xmlns:a16="http://schemas.microsoft.com/office/drawing/2014/main" id="{581B1C9A-A2CD-167D-C660-0DE44719E7FF}"/>
                    </a:ext>
                  </a:extLst>
                </p:cNvPr>
                <p:cNvPicPr/>
                <p:nvPr/>
              </p:nvPicPr>
              <p:blipFill>
                <a:blip r:embed="rId158"/>
                <a:stretch>
                  <a:fillRect/>
                </a:stretch>
              </p:blipFill>
              <p:spPr>
                <a:xfrm>
                  <a:off x="4673923" y="1463535"/>
                  <a:ext cx="62640" cy="233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9">
              <p14:nvContentPartPr>
                <p14:cNvPr id="41" name="Freihand 40">
                  <a:extLst>
                    <a:ext uri="{FF2B5EF4-FFF2-40B4-BE49-F238E27FC236}">
                      <a16:creationId xmlns:a16="http://schemas.microsoft.com/office/drawing/2014/main" id="{D0F5394F-527F-043B-0122-BCEE2568B035}"/>
                    </a:ext>
                  </a:extLst>
                </p14:cNvPr>
                <p14:cNvContentPartPr/>
                <p14:nvPr/>
              </p14:nvContentPartPr>
              <p14:xfrm>
                <a:off x="4912603" y="1406655"/>
                <a:ext cx="35280" cy="238320"/>
              </p14:xfrm>
            </p:contentPart>
          </mc:Choice>
          <mc:Fallback>
            <p:pic>
              <p:nvPicPr>
                <p:cNvPr id="41" name="Freihand 40">
                  <a:extLst>
                    <a:ext uri="{FF2B5EF4-FFF2-40B4-BE49-F238E27FC236}">
                      <a16:creationId xmlns:a16="http://schemas.microsoft.com/office/drawing/2014/main" id="{D0F5394F-527F-043B-0122-BCEE2568B035}"/>
                    </a:ext>
                  </a:extLst>
                </p:cNvPr>
                <p:cNvPicPr/>
                <p:nvPr/>
              </p:nvPicPr>
              <p:blipFill>
                <a:blip r:embed="rId160"/>
                <a:stretch>
                  <a:fillRect/>
                </a:stretch>
              </p:blipFill>
              <p:spPr>
                <a:xfrm>
                  <a:off x="4894603" y="1389015"/>
                  <a:ext cx="70920" cy="273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1">
              <p14:nvContentPartPr>
                <p14:cNvPr id="42" name="Freihand 41">
                  <a:extLst>
                    <a:ext uri="{FF2B5EF4-FFF2-40B4-BE49-F238E27FC236}">
                      <a16:creationId xmlns:a16="http://schemas.microsoft.com/office/drawing/2014/main" id="{9059428E-900B-04C4-F35D-B6DB6FDC9035}"/>
                    </a:ext>
                  </a:extLst>
                </p14:cNvPr>
                <p14:cNvContentPartPr/>
                <p14:nvPr/>
              </p14:nvContentPartPr>
              <p14:xfrm>
                <a:off x="4891723" y="1486575"/>
                <a:ext cx="136800" cy="62640"/>
              </p14:xfrm>
            </p:contentPart>
          </mc:Choice>
          <mc:Fallback>
            <p:pic>
              <p:nvPicPr>
                <p:cNvPr id="42" name="Freihand 41">
                  <a:extLst>
                    <a:ext uri="{FF2B5EF4-FFF2-40B4-BE49-F238E27FC236}">
                      <a16:creationId xmlns:a16="http://schemas.microsoft.com/office/drawing/2014/main" id="{9059428E-900B-04C4-F35D-B6DB6FDC9035}"/>
                    </a:ext>
                  </a:extLst>
                </p:cNvPr>
                <p:cNvPicPr/>
                <p:nvPr/>
              </p:nvPicPr>
              <p:blipFill>
                <a:blip r:embed="rId162"/>
                <a:stretch>
                  <a:fillRect/>
                </a:stretch>
              </p:blipFill>
              <p:spPr>
                <a:xfrm>
                  <a:off x="4874083" y="1468935"/>
                  <a:ext cx="172440" cy="98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3">
              <p14:nvContentPartPr>
                <p14:cNvPr id="43" name="Freihand 42">
                  <a:extLst>
                    <a:ext uri="{FF2B5EF4-FFF2-40B4-BE49-F238E27FC236}">
                      <a16:creationId xmlns:a16="http://schemas.microsoft.com/office/drawing/2014/main" id="{8A44ABF0-E93D-139D-0097-37E32C15A7E0}"/>
                    </a:ext>
                  </a:extLst>
                </p14:cNvPr>
                <p14:cNvContentPartPr/>
                <p14:nvPr/>
              </p14:nvContentPartPr>
              <p14:xfrm>
                <a:off x="4986403" y="1574415"/>
                <a:ext cx="128160" cy="147960"/>
              </p14:xfrm>
            </p:contentPart>
          </mc:Choice>
          <mc:Fallback>
            <p:pic>
              <p:nvPicPr>
                <p:cNvPr id="43" name="Freihand 42">
                  <a:extLst>
                    <a:ext uri="{FF2B5EF4-FFF2-40B4-BE49-F238E27FC236}">
                      <a16:creationId xmlns:a16="http://schemas.microsoft.com/office/drawing/2014/main" id="{8A44ABF0-E93D-139D-0097-37E32C15A7E0}"/>
                    </a:ext>
                  </a:extLst>
                </p:cNvPr>
                <p:cNvPicPr/>
                <p:nvPr/>
              </p:nvPicPr>
              <p:blipFill>
                <a:blip r:embed="rId164"/>
                <a:stretch>
                  <a:fillRect/>
                </a:stretch>
              </p:blipFill>
              <p:spPr>
                <a:xfrm>
                  <a:off x="4968403" y="1556415"/>
                  <a:ext cx="163800" cy="18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5">
              <p14:nvContentPartPr>
                <p14:cNvPr id="45" name="Freihand 44">
                  <a:extLst>
                    <a:ext uri="{FF2B5EF4-FFF2-40B4-BE49-F238E27FC236}">
                      <a16:creationId xmlns:a16="http://schemas.microsoft.com/office/drawing/2014/main" id="{84B275FA-9C63-E30E-1162-86E5371C079A}"/>
                    </a:ext>
                  </a:extLst>
                </p14:cNvPr>
                <p14:cNvContentPartPr/>
                <p14:nvPr/>
              </p14:nvContentPartPr>
              <p14:xfrm>
                <a:off x="5236963" y="1347615"/>
                <a:ext cx="73080" cy="312840"/>
              </p14:xfrm>
            </p:contentPart>
          </mc:Choice>
          <mc:Fallback>
            <p:pic>
              <p:nvPicPr>
                <p:cNvPr id="45" name="Freihand 44">
                  <a:extLst>
                    <a:ext uri="{FF2B5EF4-FFF2-40B4-BE49-F238E27FC236}">
                      <a16:creationId xmlns:a16="http://schemas.microsoft.com/office/drawing/2014/main" id="{84B275FA-9C63-E30E-1162-86E5371C079A}"/>
                    </a:ext>
                  </a:extLst>
                </p:cNvPr>
                <p:cNvPicPr/>
                <p:nvPr/>
              </p:nvPicPr>
              <p:blipFill>
                <a:blip r:embed="rId166"/>
                <a:stretch>
                  <a:fillRect/>
                </a:stretch>
              </p:blipFill>
              <p:spPr>
                <a:xfrm>
                  <a:off x="5219323" y="1329975"/>
                  <a:ext cx="108720" cy="34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7">
              <p14:nvContentPartPr>
                <p14:cNvPr id="46" name="Freihand 45">
                  <a:extLst>
                    <a:ext uri="{FF2B5EF4-FFF2-40B4-BE49-F238E27FC236}">
                      <a16:creationId xmlns:a16="http://schemas.microsoft.com/office/drawing/2014/main" id="{A08A91C9-F58E-1A9A-30BA-36E001CD353D}"/>
                    </a:ext>
                  </a:extLst>
                </p14:cNvPr>
                <p14:cNvContentPartPr/>
                <p14:nvPr/>
              </p14:nvContentPartPr>
              <p14:xfrm>
                <a:off x="5377723" y="1385415"/>
                <a:ext cx="151560" cy="190440"/>
              </p14:xfrm>
            </p:contentPart>
          </mc:Choice>
          <mc:Fallback>
            <p:pic>
              <p:nvPicPr>
                <p:cNvPr id="46" name="Freihand 45">
                  <a:extLst>
                    <a:ext uri="{FF2B5EF4-FFF2-40B4-BE49-F238E27FC236}">
                      <a16:creationId xmlns:a16="http://schemas.microsoft.com/office/drawing/2014/main" id="{A08A91C9-F58E-1A9A-30BA-36E001CD353D}"/>
                    </a:ext>
                  </a:extLst>
                </p:cNvPr>
                <p:cNvPicPr/>
                <p:nvPr/>
              </p:nvPicPr>
              <p:blipFill>
                <a:blip r:embed="rId168"/>
                <a:stretch>
                  <a:fillRect/>
                </a:stretch>
              </p:blipFill>
              <p:spPr>
                <a:xfrm>
                  <a:off x="5360083" y="1367415"/>
                  <a:ext cx="187200" cy="226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69">
              <p14:nvContentPartPr>
                <p14:cNvPr id="47" name="Freihand 46">
                  <a:extLst>
                    <a:ext uri="{FF2B5EF4-FFF2-40B4-BE49-F238E27FC236}">
                      <a16:creationId xmlns:a16="http://schemas.microsoft.com/office/drawing/2014/main" id="{94BE461D-516F-9F3E-AF76-C44B497E8641}"/>
                    </a:ext>
                  </a:extLst>
                </p14:cNvPr>
                <p14:cNvContentPartPr/>
                <p14:nvPr/>
              </p14:nvContentPartPr>
              <p14:xfrm>
                <a:off x="5591203" y="1466775"/>
                <a:ext cx="102960" cy="15840"/>
              </p14:xfrm>
            </p:contentPart>
          </mc:Choice>
          <mc:Fallback>
            <p:pic>
              <p:nvPicPr>
                <p:cNvPr id="47" name="Freihand 46">
                  <a:extLst>
                    <a:ext uri="{FF2B5EF4-FFF2-40B4-BE49-F238E27FC236}">
                      <a16:creationId xmlns:a16="http://schemas.microsoft.com/office/drawing/2014/main" id="{94BE461D-516F-9F3E-AF76-C44B497E8641}"/>
                    </a:ext>
                  </a:extLst>
                </p:cNvPr>
                <p:cNvPicPr/>
                <p:nvPr/>
              </p:nvPicPr>
              <p:blipFill>
                <a:blip r:embed="rId170"/>
                <a:stretch>
                  <a:fillRect/>
                </a:stretch>
              </p:blipFill>
              <p:spPr>
                <a:xfrm>
                  <a:off x="5573563" y="1448775"/>
                  <a:ext cx="138600" cy="51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1">
              <p14:nvContentPartPr>
                <p14:cNvPr id="48" name="Freihand 47">
                  <a:extLst>
                    <a:ext uri="{FF2B5EF4-FFF2-40B4-BE49-F238E27FC236}">
                      <a16:creationId xmlns:a16="http://schemas.microsoft.com/office/drawing/2014/main" id="{2BB06C77-0C58-0E3A-3023-C169441CE010}"/>
                    </a:ext>
                  </a:extLst>
                </p14:cNvPr>
                <p14:cNvContentPartPr/>
                <p14:nvPr/>
              </p14:nvContentPartPr>
              <p14:xfrm>
                <a:off x="5787763" y="1307295"/>
                <a:ext cx="77400" cy="285480"/>
              </p14:xfrm>
            </p:contentPart>
          </mc:Choice>
          <mc:Fallback>
            <p:pic>
              <p:nvPicPr>
                <p:cNvPr id="48" name="Freihand 47">
                  <a:extLst>
                    <a:ext uri="{FF2B5EF4-FFF2-40B4-BE49-F238E27FC236}">
                      <a16:creationId xmlns:a16="http://schemas.microsoft.com/office/drawing/2014/main" id="{2BB06C77-0C58-0E3A-3023-C169441CE010}"/>
                    </a:ext>
                  </a:extLst>
                </p:cNvPr>
                <p:cNvPicPr/>
                <p:nvPr/>
              </p:nvPicPr>
              <p:blipFill>
                <a:blip r:embed="rId172"/>
                <a:stretch>
                  <a:fillRect/>
                </a:stretch>
              </p:blipFill>
              <p:spPr>
                <a:xfrm>
                  <a:off x="5769763" y="1289295"/>
                  <a:ext cx="113040" cy="32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3">
              <p14:nvContentPartPr>
                <p14:cNvPr id="49" name="Freihand 48">
                  <a:extLst>
                    <a:ext uri="{FF2B5EF4-FFF2-40B4-BE49-F238E27FC236}">
                      <a16:creationId xmlns:a16="http://schemas.microsoft.com/office/drawing/2014/main" id="{E0739DB7-A280-F0B8-0103-CF09D869FC22}"/>
                    </a:ext>
                  </a:extLst>
                </p14:cNvPr>
                <p14:cNvContentPartPr/>
                <p14:nvPr/>
              </p14:nvContentPartPr>
              <p14:xfrm>
                <a:off x="5747443" y="1410255"/>
                <a:ext cx="196920" cy="39240"/>
              </p14:xfrm>
            </p:contentPart>
          </mc:Choice>
          <mc:Fallback>
            <p:pic>
              <p:nvPicPr>
                <p:cNvPr id="49" name="Freihand 48">
                  <a:extLst>
                    <a:ext uri="{FF2B5EF4-FFF2-40B4-BE49-F238E27FC236}">
                      <a16:creationId xmlns:a16="http://schemas.microsoft.com/office/drawing/2014/main" id="{E0739DB7-A280-F0B8-0103-CF09D869FC22}"/>
                    </a:ext>
                  </a:extLst>
                </p:cNvPr>
                <p:cNvPicPr/>
                <p:nvPr/>
              </p:nvPicPr>
              <p:blipFill>
                <a:blip r:embed="rId174"/>
                <a:stretch>
                  <a:fillRect/>
                </a:stretch>
              </p:blipFill>
              <p:spPr>
                <a:xfrm>
                  <a:off x="5729443" y="1392255"/>
                  <a:ext cx="232560" cy="74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5">
              <p14:nvContentPartPr>
                <p14:cNvPr id="51" name="Freihand 50">
                  <a:extLst>
                    <a:ext uri="{FF2B5EF4-FFF2-40B4-BE49-F238E27FC236}">
                      <a16:creationId xmlns:a16="http://schemas.microsoft.com/office/drawing/2014/main" id="{1D6F119D-ECA4-F220-1898-BCEECD9BF3A9}"/>
                    </a:ext>
                  </a:extLst>
                </p14:cNvPr>
                <p14:cNvContentPartPr/>
                <p14:nvPr/>
              </p14:nvContentPartPr>
              <p14:xfrm>
                <a:off x="6015643" y="1283895"/>
                <a:ext cx="54360" cy="375480"/>
              </p14:xfrm>
            </p:contentPart>
          </mc:Choice>
          <mc:Fallback>
            <p:pic>
              <p:nvPicPr>
                <p:cNvPr id="51" name="Freihand 50">
                  <a:extLst>
                    <a:ext uri="{FF2B5EF4-FFF2-40B4-BE49-F238E27FC236}">
                      <a16:creationId xmlns:a16="http://schemas.microsoft.com/office/drawing/2014/main" id="{1D6F119D-ECA4-F220-1898-BCEECD9BF3A9}"/>
                    </a:ext>
                  </a:extLst>
                </p:cNvPr>
                <p:cNvPicPr/>
                <p:nvPr/>
              </p:nvPicPr>
              <p:blipFill>
                <a:blip r:embed="rId176"/>
                <a:stretch>
                  <a:fillRect/>
                </a:stretch>
              </p:blipFill>
              <p:spPr>
                <a:xfrm>
                  <a:off x="5997643" y="1266255"/>
                  <a:ext cx="90000" cy="41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7">
              <p14:nvContentPartPr>
                <p14:cNvPr id="52" name="Freihand 51">
                  <a:extLst>
                    <a:ext uri="{FF2B5EF4-FFF2-40B4-BE49-F238E27FC236}">
                      <a16:creationId xmlns:a16="http://schemas.microsoft.com/office/drawing/2014/main" id="{606A2561-CE0A-E493-E694-2C55167A8562}"/>
                    </a:ext>
                  </a:extLst>
                </p14:cNvPr>
                <p14:cNvContentPartPr/>
                <p14:nvPr/>
              </p14:nvContentPartPr>
              <p14:xfrm>
                <a:off x="6197443" y="1436895"/>
                <a:ext cx="27720" cy="24840"/>
              </p14:xfrm>
            </p:contentPart>
          </mc:Choice>
          <mc:Fallback>
            <p:pic>
              <p:nvPicPr>
                <p:cNvPr id="52" name="Freihand 51">
                  <a:extLst>
                    <a:ext uri="{FF2B5EF4-FFF2-40B4-BE49-F238E27FC236}">
                      <a16:creationId xmlns:a16="http://schemas.microsoft.com/office/drawing/2014/main" id="{606A2561-CE0A-E493-E694-2C55167A8562}"/>
                    </a:ext>
                  </a:extLst>
                </p:cNvPr>
                <p:cNvPicPr/>
                <p:nvPr/>
              </p:nvPicPr>
              <p:blipFill>
                <a:blip r:embed="rId178"/>
                <a:stretch>
                  <a:fillRect/>
                </a:stretch>
              </p:blipFill>
              <p:spPr>
                <a:xfrm>
                  <a:off x="6179443" y="1418895"/>
                  <a:ext cx="6336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79">
              <p14:nvContentPartPr>
                <p14:cNvPr id="141" name="Freihand 140">
                  <a:extLst>
                    <a:ext uri="{FF2B5EF4-FFF2-40B4-BE49-F238E27FC236}">
                      <a16:creationId xmlns:a16="http://schemas.microsoft.com/office/drawing/2014/main" id="{B09CE81D-5D14-0216-3217-A28A17F7179D}"/>
                    </a:ext>
                  </a:extLst>
                </p14:cNvPr>
                <p14:cNvContentPartPr/>
                <p14:nvPr/>
              </p14:nvContentPartPr>
              <p14:xfrm>
                <a:off x="5298523" y="1392255"/>
                <a:ext cx="69840" cy="273240"/>
              </p14:xfrm>
            </p:contentPart>
          </mc:Choice>
          <mc:Fallback>
            <p:pic>
              <p:nvPicPr>
                <p:cNvPr id="141" name="Freihand 140">
                  <a:extLst>
                    <a:ext uri="{FF2B5EF4-FFF2-40B4-BE49-F238E27FC236}">
                      <a16:creationId xmlns:a16="http://schemas.microsoft.com/office/drawing/2014/main" id="{B09CE81D-5D14-0216-3217-A28A17F7179D}"/>
                    </a:ext>
                  </a:extLst>
                </p:cNvPr>
                <p:cNvPicPr/>
                <p:nvPr/>
              </p:nvPicPr>
              <p:blipFill>
                <a:blip r:embed="rId180"/>
                <a:stretch>
                  <a:fillRect/>
                </a:stretch>
              </p:blipFill>
              <p:spPr>
                <a:xfrm>
                  <a:off x="5280523" y="1374255"/>
                  <a:ext cx="105480" cy="3088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C4E10C5F-A03D-1FF1-0670-198C1321114C}"/>
              </a:ext>
            </a:extLst>
          </p:cNvPr>
          <p:cNvGrpSpPr/>
          <p:nvPr/>
        </p:nvGrpSpPr>
        <p:grpSpPr>
          <a:xfrm>
            <a:off x="879163" y="3675375"/>
            <a:ext cx="219600" cy="101520"/>
            <a:chOff x="879163" y="3675375"/>
            <a:chExt cx="219600" cy="101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1">
              <p14:nvContentPartPr>
                <p14:cNvPr id="150" name="Freihand 149">
                  <a:extLst>
                    <a:ext uri="{FF2B5EF4-FFF2-40B4-BE49-F238E27FC236}">
                      <a16:creationId xmlns:a16="http://schemas.microsoft.com/office/drawing/2014/main" id="{E4D9F541-A4B6-BF5E-FF9C-3BF63D07BF16}"/>
                    </a:ext>
                  </a:extLst>
                </p14:cNvPr>
                <p14:cNvContentPartPr/>
                <p14:nvPr/>
              </p14:nvContentPartPr>
              <p14:xfrm>
                <a:off x="879163" y="3766815"/>
                <a:ext cx="177120" cy="10080"/>
              </p14:xfrm>
            </p:contentPart>
          </mc:Choice>
          <mc:Fallback>
            <p:pic>
              <p:nvPicPr>
                <p:cNvPr id="150" name="Freihand 149">
                  <a:extLst>
                    <a:ext uri="{FF2B5EF4-FFF2-40B4-BE49-F238E27FC236}">
                      <a16:creationId xmlns:a16="http://schemas.microsoft.com/office/drawing/2014/main" id="{E4D9F541-A4B6-BF5E-FF9C-3BF63D07BF16}"/>
                    </a:ext>
                  </a:extLst>
                </p:cNvPr>
                <p:cNvPicPr/>
                <p:nvPr/>
              </p:nvPicPr>
              <p:blipFill>
                <a:blip r:embed="rId182"/>
                <a:stretch>
                  <a:fillRect/>
                </a:stretch>
              </p:blipFill>
              <p:spPr>
                <a:xfrm>
                  <a:off x="861163" y="3748815"/>
                  <a:ext cx="212760" cy="45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3">
              <p14:nvContentPartPr>
                <p14:cNvPr id="151" name="Freihand 150">
                  <a:extLst>
                    <a:ext uri="{FF2B5EF4-FFF2-40B4-BE49-F238E27FC236}">
                      <a16:creationId xmlns:a16="http://schemas.microsoft.com/office/drawing/2014/main" id="{8F25EA70-6836-B0A0-3ABC-1B63022AE6AF}"/>
                    </a:ext>
                  </a:extLst>
                </p14:cNvPr>
                <p14:cNvContentPartPr/>
                <p14:nvPr/>
              </p14:nvContentPartPr>
              <p14:xfrm>
                <a:off x="880963" y="3675375"/>
                <a:ext cx="217800" cy="24840"/>
              </p14:xfrm>
            </p:contentPart>
          </mc:Choice>
          <mc:Fallback>
            <p:pic>
              <p:nvPicPr>
                <p:cNvPr id="151" name="Freihand 150">
                  <a:extLst>
                    <a:ext uri="{FF2B5EF4-FFF2-40B4-BE49-F238E27FC236}">
                      <a16:creationId xmlns:a16="http://schemas.microsoft.com/office/drawing/2014/main" id="{8F25EA70-6836-B0A0-3ABC-1B63022AE6AF}"/>
                    </a:ext>
                  </a:extLst>
                </p:cNvPr>
                <p:cNvPicPr/>
                <p:nvPr/>
              </p:nvPicPr>
              <p:blipFill>
                <a:blip r:embed="rId184"/>
                <a:stretch>
                  <a:fillRect/>
                </a:stretch>
              </p:blipFill>
              <p:spPr>
                <a:xfrm>
                  <a:off x="863323" y="3657375"/>
                  <a:ext cx="253440" cy="60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62" name="Gruppieren 161">
            <a:extLst>
              <a:ext uri="{FF2B5EF4-FFF2-40B4-BE49-F238E27FC236}">
                <a16:creationId xmlns:a16="http://schemas.microsoft.com/office/drawing/2014/main" id="{E792B878-A7F2-22C3-176F-7F8A1D256CB2}"/>
              </a:ext>
            </a:extLst>
          </p:cNvPr>
          <p:cNvGrpSpPr/>
          <p:nvPr/>
        </p:nvGrpSpPr>
        <p:grpSpPr>
          <a:xfrm>
            <a:off x="1495123" y="3342735"/>
            <a:ext cx="861840" cy="632520"/>
            <a:chOff x="1495123" y="3342735"/>
            <a:chExt cx="861840" cy="632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85">
              <p14:nvContentPartPr>
                <p14:cNvPr id="153" name="Freihand 152">
                  <a:extLst>
                    <a:ext uri="{FF2B5EF4-FFF2-40B4-BE49-F238E27FC236}">
                      <a16:creationId xmlns:a16="http://schemas.microsoft.com/office/drawing/2014/main" id="{51206F4D-EC2D-B615-B67F-3E67C3AEE9B0}"/>
                    </a:ext>
                  </a:extLst>
                </p14:cNvPr>
                <p14:cNvContentPartPr/>
                <p14:nvPr/>
              </p14:nvContentPartPr>
              <p14:xfrm>
                <a:off x="1541563" y="3529935"/>
                <a:ext cx="108720" cy="333720"/>
              </p14:xfrm>
            </p:contentPart>
          </mc:Choice>
          <mc:Fallback>
            <p:pic>
              <p:nvPicPr>
                <p:cNvPr id="153" name="Freihand 152">
                  <a:extLst>
                    <a:ext uri="{FF2B5EF4-FFF2-40B4-BE49-F238E27FC236}">
                      <a16:creationId xmlns:a16="http://schemas.microsoft.com/office/drawing/2014/main" id="{51206F4D-EC2D-B615-B67F-3E67C3AEE9B0}"/>
                    </a:ext>
                  </a:extLst>
                </p:cNvPr>
                <p:cNvPicPr/>
                <p:nvPr/>
              </p:nvPicPr>
              <p:blipFill>
                <a:blip r:embed="rId186"/>
                <a:stretch>
                  <a:fillRect/>
                </a:stretch>
              </p:blipFill>
              <p:spPr>
                <a:xfrm>
                  <a:off x="1523923" y="3511935"/>
                  <a:ext cx="144360" cy="36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7">
              <p14:nvContentPartPr>
                <p14:cNvPr id="154" name="Freihand 153">
                  <a:extLst>
                    <a:ext uri="{FF2B5EF4-FFF2-40B4-BE49-F238E27FC236}">
                      <a16:creationId xmlns:a16="http://schemas.microsoft.com/office/drawing/2014/main" id="{75A8E468-0905-ABBF-3D80-B06697CA6445}"/>
                    </a:ext>
                  </a:extLst>
                </p14:cNvPr>
                <p14:cNvContentPartPr/>
                <p14:nvPr/>
              </p14:nvContentPartPr>
              <p14:xfrm>
                <a:off x="1689523" y="3686175"/>
                <a:ext cx="158760" cy="34920"/>
              </p14:xfrm>
            </p:contentPart>
          </mc:Choice>
          <mc:Fallback>
            <p:pic>
              <p:nvPicPr>
                <p:cNvPr id="154" name="Freihand 153">
                  <a:extLst>
                    <a:ext uri="{FF2B5EF4-FFF2-40B4-BE49-F238E27FC236}">
                      <a16:creationId xmlns:a16="http://schemas.microsoft.com/office/drawing/2014/main" id="{75A8E468-0905-ABBF-3D80-B06697CA6445}"/>
                    </a:ext>
                  </a:extLst>
                </p:cNvPr>
                <p:cNvPicPr/>
                <p:nvPr/>
              </p:nvPicPr>
              <p:blipFill>
                <a:blip r:embed="rId188"/>
                <a:stretch>
                  <a:fillRect/>
                </a:stretch>
              </p:blipFill>
              <p:spPr>
                <a:xfrm>
                  <a:off x="1671883" y="3668535"/>
                  <a:ext cx="194400" cy="7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89">
              <p14:nvContentPartPr>
                <p14:cNvPr id="155" name="Freihand 154">
                  <a:extLst>
                    <a:ext uri="{FF2B5EF4-FFF2-40B4-BE49-F238E27FC236}">
                      <a16:creationId xmlns:a16="http://schemas.microsoft.com/office/drawing/2014/main" id="{E7120AE8-92EF-95AD-47D2-0947BE29BD25}"/>
                    </a:ext>
                  </a:extLst>
                </p14:cNvPr>
                <p14:cNvContentPartPr/>
                <p14:nvPr/>
              </p14:nvContentPartPr>
              <p14:xfrm>
                <a:off x="1951603" y="3518775"/>
                <a:ext cx="56880" cy="284400"/>
              </p14:xfrm>
            </p:contentPart>
          </mc:Choice>
          <mc:Fallback>
            <p:pic>
              <p:nvPicPr>
                <p:cNvPr id="155" name="Freihand 154">
                  <a:extLst>
                    <a:ext uri="{FF2B5EF4-FFF2-40B4-BE49-F238E27FC236}">
                      <a16:creationId xmlns:a16="http://schemas.microsoft.com/office/drawing/2014/main" id="{E7120AE8-92EF-95AD-47D2-0947BE29BD25}"/>
                    </a:ext>
                  </a:extLst>
                </p:cNvPr>
                <p:cNvPicPr/>
                <p:nvPr/>
              </p:nvPicPr>
              <p:blipFill>
                <a:blip r:embed="rId190"/>
                <a:stretch>
                  <a:fillRect/>
                </a:stretch>
              </p:blipFill>
              <p:spPr>
                <a:xfrm>
                  <a:off x="1933603" y="3501135"/>
                  <a:ext cx="92520" cy="32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1">
              <p14:nvContentPartPr>
                <p14:cNvPr id="156" name="Freihand 155">
                  <a:extLst>
                    <a:ext uri="{FF2B5EF4-FFF2-40B4-BE49-F238E27FC236}">
                      <a16:creationId xmlns:a16="http://schemas.microsoft.com/office/drawing/2014/main" id="{07FCCAC7-BB0F-2A3E-CFAA-E1890A1EC0D1}"/>
                    </a:ext>
                  </a:extLst>
                </p14:cNvPr>
                <p14:cNvContentPartPr/>
                <p14:nvPr/>
              </p14:nvContentPartPr>
              <p14:xfrm>
                <a:off x="1876723" y="3587895"/>
                <a:ext cx="184320" cy="43200"/>
              </p14:xfrm>
            </p:contentPart>
          </mc:Choice>
          <mc:Fallback>
            <p:pic>
              <p:nvPicPr>
                <p:cNvPr id="156" name="Freihand 155">
                  <a:extLst>
                    <a:ext uri="{FF2B5EF4-FFF2-40B4-BE49-F238E27FC236}">
                      <a16:creationId xmlns:a16="http://schemas.microsoft.com/office/drawing/2014/main" id="{07FCCAC7-BB0F-2A3E-CFAA-E1890A1EC0D1}"/>
                    </a:ext>
                  </a:extLst>
                </p:cNvPr>
                <p:cNvPicPr/>
                <p:nvPr/>
              </p:nvPicPr>
              <p:blipFill>
                <a:blip r:embed="rId192"/>
                <a:stretch>
                  <a:fillRect/>
                </a:stretch>
              </p:blipFill>
              <p:spPr>
                <a:xfrm>
                  <a:off x="1858723" y="3569895"/>
                  <a:ext cx="219960" cy="7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3">
              <p14:nvContentPartPr>
                <p14:cNvPr id="158" name="Freihand 157">
                  <a:extLst>
                    <a:ext uri="{FF2B5EF4-FFF2-40B4-BE49-F238E27FC236}">
                      <a16:creationId xmlns:a16="http://schemas.microsoft.com/office/drawing/2014/main" id="{7C24CA68-A0B3-F07A-2165-5CBBA4A8C8AF}"/>
                    </a:ext>
                  </a:extLst>
                </p14:cNvPr>
                <p14:cNvContentPartPr/>
                <p14:nvPr/>
              </p14:nvContentPartPr>
              <p14:xfrm>
                <a:off x="1495123" y="3471975"/>
                <a:ext cx="77760" cy="412200"/>
              </p14:xfrm>
            </p:contentPart>
          </mc:Choice>
          <mc:Fallback>
            <p:pic>
              <p:nvPicPr>
                <p:cNvPr id="158" name="Freihand 157">
                  <a:extLst>
                    <a:ext uri="{FF2B5EF4-FFF2-40B4-BE49-F238E27FC236}">
                      <a16:creationId xmlns:a16="http://schemas.microsoft.com/office/drawing/2014/main" id="{7C24CA68-A0B3-F07A-2165-5CBBA4A8C8AF}"/>
                    </a:ext>
                  </a:extLst>
                </p:cNvPr>
                <p:cNvPicPr/>
                <p:nvPr/>
              </p:nvPicPr>
              <p:blipFill>
                <a:blip r:embed="rId194"/>
                <a:stretch>
                  <a:fillRect/>
                </a:stretch>
              </p:blipFill>
              <p:spPr>
                <a:xfrm>
                  <a:off x="1477483" y="3453975"/>
                  <a:ext cx="113400" cy="447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5">
              <p14:nvContentPartPr>
                <p14:cNvPr id="160" name="Freihand 159">
                  <a:extLst>
                    <a:ext uri="{FF2B5EF4-FFF2-40B4-BE49-F238E27FC236}">
                      <a16:creationId xmlns:a16="http://schemas.microsoft.com/office/drawing/2014/main" id="{81F6A1D1-F8EF-E614-201B-CB0968B4DB57}"/>
                    </a:ext>
                  </a:extLst>
                </p14:cNvPr>
                <p14:cNvContentPartPr/>
                <p14:nvPr/>
              </p14:nvContentPartPr>
              <p14:xfrm>
                <a:off x="2111083" y="3342735"/>
                <a:ext cx="81000" cy="632520"/>
              </p14:xfrm>
            </p:contentPart>
          </mc:Choice>
          <mc:Fallback>
            <p:pic>
              <p:nvPicPr>
                <p:cNvPr id="160" name="Freihand 159">
                  <a:extLst>
                    <a:ext uri="{FF2B5EF4-FFF2-40B4-BE49-F238E27FC236}">
                      <a16:creationId xmlns:a16="http://schemas.microsoft.com/office/drawing/2014/main" id="{81F6A1D1-F8EF-E614-201B-CB0968B4DB57}"/>
                    </a:ext>
                  </a:extLst>
                </p:cNvPr>
                <p:cNvPicPr/>
                <p:nvPr/>
              </p:nvPicPr>
              <p:blipFill>
                <a:blip r:embed="rId196"/>
                <a:stretch>
                  <a:fillRect/>
                </a:stretch>
              </p:blipFill>
              <p:spPr>
                <a:xfrm>
                  <a:off x="2093443" y="3325095"/>
                  <a:ext cx="116640" cy="668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7">
              <p14:nvContentPartPr>
                <p14:cNvPr id="161" name="Freihand 160">
                  <a:extLst>
                    <a:ext uri="{FF2B5EF4-FFF2-40B4-BE49-F238E27FC236}">
                      <a16:creationId xmlns:a16="http://schemas.microsoft.com/office/drawing/2014/main" id="{47C3DBCF-F4E3-5697-4CCD-E2A07FD1D793}"/>
                    </a:ext>
                  </a:extLst>
                </p14:cNvPr>
                <p14:cNvContentPartPr/>
                <p14:nvPr/>
              </p14:nvContentPartPr>
              <p14:xfrm>
                <a:off x="2333563" y="3627495"/>
                <a:ext cx="23400" cy="18360"/>
              </p14:xfrm>
            </p:contentPart>
          </mc:Choice>
          <mc:Fallback>
            <p:pic>
              <p:nvPicPr>
                <p:cNvPr id="161" name="Freihand 160">
                  <a:extLst>
                    <a:ext uri="{FF2B5EF4-FFF2-40B4-BE49-F238E27FC236}">
                      <a16:creationId xmlns:a16="http://schemas.microsoft.com/office/drawing/2014/main" id="{47C3DBCF-F4E3-5697-4CCD-E2A07FD1D793}"/>
                    </a:ext>
                  </a:extLst>
                </p:cNvPr>
                <p:cNvPicPr/>
                <p:nvPr/>
              </p:nvPicPr>
              <p:blipFill>
                <a:blip r:embed="rId198"/>
                <a:stretch>
                  <a:fillRect/>
                </a:stretch>
              </p:blipFill>
              <p:spPr>
                <a:xfrm>
                  <a:off x="2315923" y="3609495"/>
                  <a:ext cx="59040" cy="540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6" name="Gruppieren 175">
            <a:extLst>
              <a:ext uri="{FF2B5EF4-FFF2-40B4-BE49-F238E27FC236}">
                <a16:creationId xmlns:a16="http://schemas.microsoft.com/office/drawing/2014/main" id="{752FC140-52F3-9F67-A15C-2A7A4AFDDD1D}"/>
              </a:ext>
            </a:extLst>
          </p:cNvPr>
          <p:cNvGrpSpPr/>
          <p:nvPr/>
        </p:nvGrpSpPr>
        <p:grpSpPr>
          <a:xfrm>
            <a:off x="2622643" y="3185415"/>
            <a:ext cx="1349280" cy="875520"/>
            <a:chOff x="2622643" y="3185415"/>
            <a:chExt cx="1349280" cy="875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99">
              <p14:nvContentPartPr>
                <p14:cNvPr id="163" name="Freihand 162">
                  <a:extLst>
                    <a:ext uri="{FF2B5EF4-FFF2-40B4-BE49-F238E27FC236}">
                      <a16:creationId xmlns:a16="http://schemas.microsoft.com/office/drawing/2014/main" id="{5FEAB09C-43CC-71DC-7FDC-1AC0F819FAF7}"/>
                    </a:ext>
                  </a:extLst>
                </p14:cNvPr>
                <p14:cNvContentPartPr/>
                <p14:nvPr/>
              </p14:nvContentPartPr>
              <p14:xfrm>
                <a:off x="2622643" y="3185415"/>
                <a:ext cx="176040" cy="875520"/>
              </p14:xfrm>
            </p:contentPart>
          </mc:Choice>
          <mc:Fallback>
            <p:pic>
              <p:nvPicPr>
                <p:cNvPr id="163" name="Freihand 162">
                  <a:extLst>
                    <a:ext uri="{FF2B5EF4-FFF2-40B4-BE49-F238E27FC236}">
                      <a16:creationId xmlns:a16="http://schemas.microsoft.com/office/drawing/2014/main" id="{5FEAB09C-43CC-71DC-7FDC-1AC0F819FAF7}"/>
                    </a:ext>
                  </a:extLst>
                </p:cNvPr>
                <p:cNvPicPr/>
                <p:nvPr/>
              </p:nvPicPr>
              <p:blipFill>
                <a:blip r:embed="rId200"/>
                <a:stretch>
                  <a:fillRect/>
                </a:stretch>
              </p:blipFill>
              <p:spPr>
                <a:xfrm>
                  <a:off x="2604643" y="3167415"/>
                  <a:ext cx="211680" cy="91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1">
              <p14:nvContentPartPr>
                <p14:cNvPr id="164" name="Freihand 163">
                  <a:extLst>
                    <a:ext uri="{FF2B5EF4-FFF2-40B4-BE49-F238E27FC236}">
                      <a16:creationId xmlns:a16="http://schemas.microsoft.com/office/drawing/2014/main" id="{E77866EB-7B3A-7A15-400E-9BCF5AC89CDC}"/>
                    </a:ext>
                  </a:extLst>
                </p14:cNvPr>
                <p14:cNvContentPartPr/>
                <p14:nvPr/>
              </p14:nvContentPartPr>
              <p14:xfrm>
                <a:off x="2772763" y="3413655"/>
                <a:ext cx="219240" cy="275400"/>
              </p14:xfrm>
            </p:contentPart>
          </mc:Choice>
          <mc:Fallback>
            <p:pic>
              <p:nvPicPr>
                <p:cNvPr id="164" name="Freihand 163">
                  <a:extLst>
                    <a:ext uri="{FF2B5EF4-FFF2-40B4-BE49-F238E27FC236}">
                      <a16:creationId xmlns:a16="http://schemas.microsoft.com/office/drawing/2014/main" id="{E77866EB-7B3A-7A15-400E-9BCF5AC89CDC}"/>
                    </a:ext>
                  </a:extLst>
                </p:cNvPr>
                <p:cNvPicPr/>
                <p:nvPr/>
              </p:nvPicPr>
              <p:blipFill>
                <a:blip r:embed="rId202"/>
                <a:stretch>
                  <a:fillRect/>
                </a:stretch>
              </p:blipFill>
              <p:spPr>
                <a:xfrm>
                  <a:off x="2754763" y="3396015"/>
                  <a:ext cx="254880" cy="311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3">
              <p14:nvContentPartPr>
                <p14:cNvPr id="165" name="Freihand 164">
                  <a:extLst>
                    <a:ext uri="{FF2B5EF4-FFF2-40B4-BE49-F238E27FC236}">
                      <a16:creationId xmlns:a16="http://schemas.microsoft.com/office/drawing/2014/main" id="{533F8E2D-1E8D-283D-9FE9-A28D53A2F7C6}"/>
                    </a:ext>
                  </a:extLst>
                </p14:cNvPr>
                <p14:cNvContentPartPr/>
                <p14:nvPr/>
              </p14:nvContentPartPr>
              <p14:xfrm>
                <a:off x="3010003" y="3546855"/>
                <a:ext cx="115200" cy="14040"/>
              </p14:xfrm>
            </p:contentPart>
          </mc:Choice>
          <mc:Fallback>
            <p:pic>
              <p:nvPicPr>
                <p:cNvPr id="165" name="Freihand 164">
                  <a:extLst>
                    <a:ext uri="{FF2B5EF4-FFF2-40B4-BE49-F238E27FC236}">
                      <a16:creationId xmlns:a16="http://schemas.microsoft.com/office/drawing/2014/main" id="{533F8E2D-1E8D-283D-9FE9-A28D53A2F7C6}"/>
                    </a:ext>
                  </a:extLst>
                </p:cNvPr>
                <p:cNvPicPr/>
                <p:nvPr/>
              </p:nvPicPr>
              <p:blipFill>
                <a:blip r:embed="rId204"/>
                <a:stretch>
                  <a:fillRect/>
                </a:stretch>
              </p:blipFill>
              <p:spPr>
                <a:xfrm>
                  <a:off x="2992363" y="3528855"/>
                  <a:ext cx="150840" cy="49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5">
              <p14:nvContentPartPr>
                <p14:cNvPr id="166" name="Freihand 165">
                  <a:extLst>
                    <a:ext uri="{FF2B5EF4-FFF2-40B4-BE49-F238E27FC236}">
                      <a16:creationId xmlns:a16="http://schemas.microsoft.com/office/drawing/2014/main" id="{13A3E90D-5279-6EB3-23A1-0F32E780ED4D}"/>
                    </a:ext>
                  </a:extLst>
                </p14:cNvPr>
                <p14:cNvContentPartPr/>
                <p14:nvPr/>
              </p14:nvContentPartPr>
              <p14:xfrm>
                <a:off x="3182443" y="3387375"/>
                <a:ext cx="43920" cy="237960"/>
              </p14:xfrm>
            </p:contentPart>
          </mc:Choice>
          <mc:Fallback>
            <p:pic>
              <p:nvPicPr>
                <p:cNvPr id="166" name="Freihand 165">
                  <a:extLst>
                    <a:ext uri="{FF2B5EF4-FFF2-40B4-BE49-F238E27FC236}">
                      <a16:creationId xmlns:a16="http://schemas.microsoft.com/office/drawing/2014/main" id="{13A3E90D-5279-6EB3-23A1-0F32E780ED4D}"/>
                    </a:ext>
                  </a:extLst>
                </p:cNvPr>
                <p:cNvPicPr/>
                <p:nvPr/>
              </p:nvPicPr>
              <p:blipFill>
                <a:blip r:embed="rId206"/>
                <a:stretch>
                  <a:fillRect/>
                </a:stretch>
              </p:blipFill>
              <p:spPr>
                <a:xfrm>
                  <a:off x="3164803" y="3369375"/>
                  <a:ext cx="79560" cy="27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7">
              <p14:nvContentPartPr>
                <p14:cNvPr id="167" name="Freihand 166">
                  <a:extLst>
                    <a:ext uri="{FF2B5EF4-FFF2-40B4-BE49-F238E27FC236}">
                      <a16:creationId xmlns:a16="http://schemas.microsoft.com/office/drawing/2014/main" id="{EEAB5C7F-6FE2-456A-A655-71EB27800056}"/>
                    </a:ext>
                  </a:extLst>
                </p14:cNvPr>
                <p14:cNvContentPartPr/>
                <p14:nvPr/>
              </p14:nvContentPartPr>
              <p14:xfrm>
                <a:off x="3131323" y="3437055"/>
                <a:ext cx="146880" cy="50040"/>
              </p14:xfrm>
            </p:contentPart>
          </mc:Choice>
          <mc:Fallback>
            <p:pic>
              <p:nvPicPr>
                <p:cNvPr id="167" name="Freihand 166">
                  <a:extLst>
                    <a:ext uri="{FF2B5EF4-FFF2-40B4-BE49-F238E27FC236}">
                      <a16:creationId xmlns:a16="http://schemas.microsoft.com/office/drawing/2014/main" id="{EEAB5C7F-6FE2-456A-A655-71EB27800056}"/>
                    </a:ext>
                  </a:extLst>
                </p:cNvPr>
                <p:cNvPicPr/>
                <p:nvPr/>
              </p:nvPicPr>
              <p:blipFill>
                <a:blip r:embed="rId208"/>
                <a:stretch>
                  <a:fillRect/>
                </a:stretch>
              </p:blipFill>
              <p:spPr>
                <a:xfrm>
                  <a:off x="3113323" y="3419415"/>
                  <a:ext cx="182520" cy="85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09">
              <p14:nvContentPartPr>
                <p14:cNvPr id="168" name="Freihand 167">
                  <a:extLst>
                    <a:ext uri="{FF2B5EF4-FFF2-40B4-BE49-F238E27FC236}">
                      <a16:creationId xmlns:a16="http://schemas.microsoft.com/office/drawing/2014/main" id="{9F112F30-591A-FC86-15DE-08E2626716D5}"/>
                    </a:ext>
                  </a:extLst>
                </p14:cNvPr>
                <p14:cNvContentPartPr/>
                <p14:nvPr/>
              </p14:nvContentPartPr>
              <p14:xfrm>
                <a:off x="3286483" y="3542535"/>
                <a:ext cx="90720" cy="128520"/>
              </p14:xfrm>
            </p:contentPart>
          </mc:Choice>
          <mc:Fallback>
            <p:pic>
              <p:nvPicPr>
                <p:cNvPr id="168" name="Freihand 167">
                  <a:extLst>
                    <a:ext uri="{FF2B5EF4-FFF2-40B4-BE49-F238E27FC236}">
                      <a16:creationId xmlns:a16="http://schemas.microsoft.com/office/drawing/2014/main" id="{9F112F30-591A-FC86-15DE-08E2626716D5}"/>
                    </a:ext>
                  </a:extLst>
                </p:cNvPr>
                <p:cNvPicPr/>
                <p:nvPr/>
              </p:nvPicPr>
              <p:blipFill>
                <a:blip r:embed="rId210"/>
                <a:stretch>
                  <a:fillRect/>
                </a:stretch>
              </p:blipFill>
              <p:spPr>
                <a:xfrm>
                  <a:off x="3268843" y="3524535"/>
                  <a:ext cx="126360" cy="164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1">
              <p14:nvContentPartPr>
                <p14:cNvPr id="170" name="Freihand 169">
                  <a:extLst>
                    <a:ext uri="{FF2B5EF4-FFF2-40B4-BE49-F238E27FC236}">
                      <a16:creationId xmlns:a16="http://schemas.microsoft.com/office/drawing/2014/main" id="{E57DDCCE-2B0D-D86B-9F5B-463662800603}"/>
                    </a:ext>
                  </a:extLst>
                </p14:cNvPr>
                <p14:cNvContentPartPr/>
                <p14:nvPr/>
              </p14:nvContentPartPr>
              <p14:xfrm>
                <a:off x="2721283" y="3327975"/>
                <a:ext cx="119160" cy="453960"/>
              </p14:xfrm>
            </p:contentPart>
          </mc:Choice>
          <mc:Fallback>
            <p:pic>
              <p:nvPicPr>
                <p:cNvPr id="170" name="Freihand 169">
                  <a:extLst>
                    <a:ext uri="{FF2B5EF4-FFF2-40B4-BE49-F238E27FC236}">
                      <a16:creationId xmlns:a16="http://schemas.microsoft.com/office/drawing/2014/main" id="{E57DDCCE-2B0D-D86B-9F5B-463662800603}"/>
                    </a:ext>
                  </a:extLst>
                </p:cNvPr>
                <p:cNvPicPr/>
                <p:nvPr/>
              </p:nvPicPr>
              <p:blipFill>
                <a:blip r:embed="rId212"/>
                <a:stretch>
                  <a:fillRect/>
                </a:stretch>
              </p:blipFill>
              <p:spPr>
                <a:xfrm>
                  <a:off x="2703643" y="3309975"/>
                  <a:ext cx="154800" cy="489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3">
              <p14:nvContentPartPr>
                <p14:cNvPr id="171" name="Freihand 170">
                  <a:extLst>
                    <a:ext uri="{FF2B5EF4-FFF2-40B4-BE49-F238E27FC236}">
                      <a16:creationId xmlns:a16="http://schemas.microsoft.com/office/drawing/2014/main" id="{448ABA67-68B1-C2CD-CFB0-81A0446B2E1A}"/>
                    </a:ext>
                  </a:extLst>
                </p14:cNvPr>
                <p14:cNvContentPartPr/>
                <p14:nvPr/>
              </p14:nvContentPartPr>
              <p14:xfrm>
                <a:off x="3387643" y="3310335"/>
                <a:ext cx="141120" cy="470520"/>
              </p14:xfrm>
            </p:contentPart>
          </mc:Choice>
          <mc:Fallback>
            <p:pic>
              <p:nvPicPr>
                <p:cNvPr id="171" name="Freihand 170">
                  <a:extLst>
                    <a:ext uri="{FF2B5EF4-FFF2-40B4-BE49-F238E27FC236}">
                      <a16:creationId xmlns:a16="http://schemas.microsoft.com/office/drawing/2014/main" id="{448ABA67-68B1-C2CD-CFB0-81A0446B2E1A}"/>
                    </a:ext>
                  </a:extLst>
                </p:cNvPr>
                <p:cNvPicPr/>
                <p:nvPr/>
              </p:nvPicPr>
              <p:blipFill>
                <a:blip r:embed="rId214"/>
                <a:stretch>
                  <a:fillRect/>
                </a:stretch>
              </p:blipFill>
              <p:spPr>
                <a:xfrm>
                  <a:off x="3370003" y="3292335"/>
                  <a:ext cx="176760" cy="50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5">
              <p14:nvContentPartPr>
                <p14:cNvPr id="173" name="Freihand 172">
                  <a:extLst>
                    <a:ext uri="{FF2B5EF4-FFF2-40B4-BE49-F238E27FC236}">
                      <a16:creationId xmlns:a16="http://schemas.microsoft.com/office/drawing/2014/main" id="{72F78B9F-7988-803C-E895-0550AB5C5BA1}"/>
                    </a:ext>
                  </a:extLst>
                </p14:cNvPr>
                <p14:cNvContentPartPr/>
                <p14:nvPr/>
              </p14:nvContentPartPr>
              <p14:xfrm>
                <a:off x="3615523" y="3497895"/>
                <a:ext cx="23040" cy="24840"/>
              </p14:xfrm>
            </p:contentPart>
          </mc:Choice>
          <mc:Fallback>
            <p:pic>
              <p:nvPicPr>
                <p:cNvPr id="173" name="Freihand 172">
                  <a:extLst>
                    <a:ext uri="{FF2B5EF4-FFF2-40B4-BE49-F238E27FC236}">
                      <a16:creationId xmlns:a16="http://schemas.microsoft.com/office/drawing/2014/main" id="{72F78B9F-7988-803C-E895-0550AB5C5BA1}"/>
                    </a:ext>
                  </a:extLst>
                </p:cNvPr>
                <p:cNvPicPr/>
                <p:nvPr/>
              </p:nvPicPr>
              <p:blipFill>
                <a:blip r:embed="rId216"/>
                <a:stretch>
                  <a:fillRect/>
                </a:stretch>
              </p:blipFill>
              <p:spPr>
                <a:xfrm>
                  <a:off x="3597883" y="3480255"/>
                  <a:ext cx="58680" cy="60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7">
              <p14:nvContentPartPr>
                <p14:cNvPr id="174" name="Freihand 173">
                  <a:extLst>
                    <a:ext uri="{FF2B5EF4-FFF2-40B4-BE49-F238E27FC236}">
                      <a16:creationId xmlns:a16="http://schemas.microsoft.com/office/drawing/2014/main" id="{1A1433D4-871E-334B-E20F-9CDD052DD410}"/>
                    </a:ext>
                  </a:extLst>
                </p14:cNvPr>
                <p14:cNvContentPartPr/>
                <p14:nvPr/>
              </p14:nvContentPartPr>
              <p14:xfrm>
                <a:off x="3729643" y="3350655"/>
                <a:ext cx="129600" cy="303480"/>
              </p14:xfrm>
            </p:contentPart>
          </mc:Choice>
          <mc:Fallback>
            <p:pic>
              <p:nvPicPr>
                <p:cNvPr id="174" name="Freihand 173">
                  <a:extLst>
                    <a:ext uri="{FF2B5EF4-FFF2-40B4-BE49-F238E27FC236}">
                      <a16:creationId xmlns:a16="http://schemas.microsoft.com/office/drawing/2014/main" id="{1A1433D4-871E-334B-E20F-9CDD052DD410}"/>
                    </a:ext>
                  </a:extLst>
                </p:cNvPr>
                <p:cNvPicPr/>
                <p:nvPr/>
              </p:nvPicPr>
              <p:blipFill>
                <a:blip r:embed="rId218"/>
                <a:stretch>
                  <a:fillRect/>
                </a:stretch>
              </p:blipFill>
              <p:spPr>
                <a:xfrm>
                  <a:off x="3712003" y="3333015"/>
                  <a:ext cx="165240" cy="339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19">
              <p14:nvContentPartPr>
                <p14:cNvPr id="175" name="Freihand 174">
                  <a:extLst>
                    <a:ext uri="{FF2B5EF4-FFF2-40B4-BE49-F238E27FC236}">
                      <a16:creationId xmlns:a16="http://schemas.microsoft.com/office/drawing/2014/main" id="{8AFC8532-4799-8299-A6D4-65D6069A3818}"/>
                    </a:ext>
                  </a:extLst>
                </p14:cNvPr>
                <p14:cNvContentPartPr/>
                <p14:nvPr/>
              </p14:nvContentPartPr>
              <p14:xfrm>
                <a:off x="3849883" y="3570975"/>
                <a:ext cx="122040" cy="122760"/>
              </p14:xfrm>
            </p:contentPart>
          </mc:Choice>
          <mc:Fallback>
            <p:pic>
              <p:nvPicPr>
                <p:cNvPr id="175" name="Freihand 174">
                  <a:extLst>
                    <a:ext uri="{FF2B5EF4-FFF2-40B4-BE49-F238E27FC236}">
                      <a16:creationId xmlns:a16="http://schemas.microsoft.com/office/drawing/2014/main" id="{8AFC8532-4799-8299-A6D4-65D6069A3818}"/>
                    </a:ext>
                  </a:extLst>
                </p:cNvPr>
                <p:cNvPicPr/>
                <p:nvPr/>
              </p:nvPicPr>
              <p:blipFill>
                <a:blip r:embed="rId220"/>
                <a:stretch>
                  <a:fillRect/>
                </a:stretch>
              </p:blipFill>
              <p:spPr>
                <a:xfrm>
                  <a:off x="3832243" y="3552975"/>
                  <a:ext cx="157680" cy="1584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9" name="Gruppieren 178">
            <a:extLst>
              <a:ext uri="{FF2B5EF4-FFF2-40B4-BE49-F238E27FC236}">
                <a16:creationId xmlns:a16="http://schemas.microsoft.com/office/drawing/2014/main" id="{7B19376B-F5AB-D15B-C352-EB25E4FC8C18}"/>
              </a:ext>
            </a:extLst>
          </p:cNvPr>
          <p:cNvGrpSpPr/>
          <p:nvPr/>
        </p:nvGrpSpPr>
        <p:grpSpPr>
          <a:xfrm>
            <a:off x="4109803" y="3376935"/>
            <a:ext cx="205200" cy="310320"/>
            <a:chOff x="4109803" y="3376935"/>
            <a:chExt cx="205200" cy="3103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1">
              <p14:nvContentPartPr>
                <p14:cNvPr id="177" name="Freihand 176">
                  <a:extLst>
                    <a:ext uri="{FF2B5EF4-FFF2-40B4-BE49-F238E27FC236}">
                      <a16:creationId xmlns:a16="http://schemas.microsoft.com/office/drawing/2014/main" id="{5334D235-E9E4-B193-7BD9-7D49A2321934}"/>
                    </a:ext>
                  </a:extLst>
                </p14:cNvPr>
                <p14:cNvContentPartPr/>
                <p14:nvPr/>
              </p14:nvContentPartPr>
              <p14:xfrm>
                <a:off x="4109803" y="3504375"/>
                <a:ext cx="205200" cy="20520"/>
              </p14:xfrm>
            </p:contentPart>
          </mc:Choice>
          <mc:Fallback>
            <p:pic>
              <p:nvPicPr>
                <p:cNvPr id="177" name="Freihand 176">
                  <a:extLst>
                    <a:ext uri="{FF2B5EF4-FFF2-40B4-BE49-F238E27FC236}">
                      <a16:creationId xmlns:a16="http://schemas.microsoft.com/office/drawing/2014/main" id="{5334D235-E9E4-B193-7BD9-7D49A2321934}"/>
                    </a:ext>
                  </a:extLst>
                </p:cNvPr>
                <p:cNvPicPr/>
                <p:nvPr/>
              </p:nvPicPr>
              <p:blipFill>
                <a:blip r:embed="rId222"/>
                <a:stretch>
                  <a:fillRect/>
                </a:stretch>
              </p:blipFill>
              <p:spPr>
                <a:xfrm>
                  <a:off x="4091803" y="3486375"/>
                  <a:ext cx="240840" cy="56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3">
              <p14:nvContentPartPr>
                <p14:cNvPr id="178" name="Freihand 177">
                  <a:extLst>
                    <a:ext uri="{FF2B5EF4-FFF2-40B4-BE49-F238E27FC236}">
                      <a16:creationId xmlns:a16="http://schemas.microsoft.com/office/drawing/2014/main" id="{95865546-B271-7002-D3AF-44CDA519CC70}"/>
                    </a:ext>
                  </a:extLst>
                </p14:cNvPr>
                <p14:cNvContentPartPr/>
                <p14:nvPr/>
              </p14:nvContentPartPr>
              <p14:xfrm>
                <a:off x="4175683" y="3376935"/>
                <a:ext cx="24120" cy="310320"/>
              </p14:xfrm>
            </p:contentPart>
          </mc:Choice>
          <mc:Fallback>
            <p:pic>
              <p:nvPicPr>
                <p:cNvPr id="178" name="Freihand 177">
                  <a:extLst>
                    <a:ext uri="{FF2B5EF4-FFF2-40B4-BE49-F238E27FC236}">
                      <a16:creationId xmlns:a16="http://schemas.microsoft.com/office/drawing/2014/main" id="{95865546-B271-7002-D3AF-44CDA519CC70}"/>
                    </a:ext>
                  </a:extLst>
                </p:cNvPr>
                <p:cNvPicPr/>
                <p:nvPr/>
              </p:nvPicPr>
              <p:blipFill>
                <a:blip r:embed="rId224"/>
                <a:stretch>
                  <a:fillRect/>
                </a:stretch>
              </p:blipFill>
              <p:spPr>
                <a:xfrm>
                  <a:off x="4157683" y="3358935"/>
                  <a:ext cx="59760" cy="345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5BB8FF80-D767-2572-E2DE-B13786D43D19}"/>
              </a:ext>
            </a:extLst>
          </p:cNvPr>
          <p:cNvGrpSpPr/>
          <p:nvPr/>
        </p:nvGrpSpPr>
        <p:grpSpPr>
          <a:xfrm>
            <a:off x="6169363" y="1855935"/>
            <a:ext cx="991440" cy="546120"/>
            <a:chOff x="6169363" y="1855935"/>
            <a:chExt cx="991440" cy="5461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25">
              <p14:nvContentPartPr>
                <p14:cNvPr id="180" name="Freihand 179">
                  <a:extLst>
                    <a:ext uri="{FF2B5EF4-FFF2-40B4-BE49-F238E27FC236}">
                      <a16:creationId xmlns:a16="http://schemas.microsoft.com/office/drawing/2014/main" id="{E5C3C443-33A0-9EF6-323F-E6F9A43497F5}"/>
                    </a:ext>
                  </a:extLst>
                </p14:cNvPr>
                <p14:cNvContentPartPr/>
                <p14:nvPr/>
              </p14:nvContentPartPr>
              <p14:xfrm>
                <a:off x="6234883" y="1983015"/>
                <a:ext cx="20520" cy="342000"/>
              </p14:xfrm>
            </p:contentPart>
          </mc:Choice>
          <mc:Fallback>
            <p:pic>
              <p:nvPicPr>
                <p:cNvPr id="180" name="Freihand 179">
                  <a:extLst>
                    <a:ext uri="{FF2B5EF4-FFF2-40B4-BE49-F238E27FC236}">
                      <a16:creationId xmlns:a16="http://schemas.microsoft.com/office/drawing/2014/main" id="{E5C3C443-33A0-9EF6-323F-E6F9A43497F5}"/>
                    </a:ext>
                  </a:extLst>
                </p:cNvPr>
                <p:cNvPicPr/>
                <p:nvPr/>
              </p:nvPicPr>
              <p:blipFill>
                <a:blip r:embed="rId226"/>
                <a:stretch>
                  <a:fillRect/>
                </a:stretch>
              </p:blipFill>
              <p:spPr>
                <a:xfrm>
                  <a:off x="6216883" y="1965375"/>
                  <a:ext cx="56160" cy="377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7">
              <p14:nvContentPartPr>
                <p14:cNvPr id="181" name="Freihand 180">
                  <a:extLst>
                    <a:ext uri="{FF2B5EF4-FFF2-40B4-BE49-F238E27FC236}">
                      <a16:creationId xmlns:a16="http://schemas.microsoft.com/office/drawing/2014/main" id="{44CB9FB0-D291-F0E1-8E6B-38A691FD717F}"/>
                    </a:ext>
                  </a:extLst>
                </p14:cNvPr>
                <p14:cNvContentPartPr/>
                <p14:nvPr/>
              </p14:nvContentPartPr>
              <p14:xfrm>
                <a:off x="6169363" y="2151855"/>
                <a:ext cx="147240" cy="55080"/>
              </p14:xfrm>
            </p:contentPart>
          </mc:Choice>
          <mc:Fallback>
            <p:pic>
              <p:nvPicPr>
                <p:cNvPr id="181" name="Freihand 180">
                  <a:extLst>
                    <a:ext uri="{FF2B5EF4-FFF2-40B4-BE49-F238E27FC236}">
                      <a16:creationId xmlns:a16="http://schemas.microsoft.com/office/drawing/2014/main" id="{44CB9FB0-D291-F0E1-8E6B-38A691FD717F}"/>
                    </a:ext>
                  </a:extLst>
                </p:cNvPr>
                <p:cNvPicPr/>
                <p:nvPr/>
              </p:nvPicPr>
              <p:blipFill>
                <a:blip r:embed="rId228"/>
                <a:stretch>
                  <a:fillRect/>
                </a:stretch>
              </p:blipFill>
              <p:spPr>
                <a:xfrm>
                  <a:off x="6151363" y="2134215"/>
                  <a:ext cx="182880" cy="90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29">
              <p14:nvContentPartPr>
                <p14:cNvPr id="182" name="Freihand 181">
                  <a:extLst>
                    <a:ext uri="{FF2B5EF4-FFF2-40B4-BE49-F238E27FC236}">
                      <a16:creationId xmlns:a16="http://schemas.microsoft.com/office/drawing/2014/main" id="{95C8D250-A523-95E6-5CD5-39ADA9C9A2C1}"/>
                    </a:ext>
                  </a:extLst>
                </p14:cNvPr>
                <p14:cNvContentPartPr/>
                <p14:nvPr/>
              </p14:nvContentPartPr>
              <p14:xfrm>
                <a:off x="6341083" y="2232855"/>
                <a:ext cx="109440" cy="169200"/>
              </p14:xfrm>
            </p:contentPart>
          </mc:Choice>
          <mc:Fallback>
            <p:pic>
              <p:nvPicPr>
                <p:cNvPr id="182" name="Freihand 181">
                  <a:extLst>
                    <a:ext uri="{FF2B5EF4-FFF2-40B4-BE49-F238E27FC236}">
                      <a16:creationId xmlns:a16="http://schemas.microsoft.com/office/drawing/2014/main" id="{95C8D250-A523-95E6-5CD5-39ADA9C9A2C1}"/>
                    </a:ext>
                  </a:extLst>
                </p:cNvPr>
                <p:cNvPicPr/>
                <p:nvPr/>
              </p:nvPicPr>
              <p:blipFill>
                <a:blip r:embed="rId230"/>
                <a:stretch>
                  <a:fillRect/>
                </a:stretch>
              </p:blipFill>
              <p:spPr>
                <a:xfrm>
                  <a:off x="6323443" y="2214855"/>
                  <a:ext cx="145080" cy="204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1">
              <p14:nvContentPartPr>
                <p14:cNvPr id="185" name="Freihand 184">
                  <a:extLst>
                    <a:ext uri="{FF2B5EF4-FFF2-40B4-BE49-F238E27FC236}">
                      <a16:creationId xmlns:a16="http://schemas.microsoft.com/office/drawing/2014/main" id="{7A42A6E8-58BD-61B1-8CCB-5C1E5B921246}"/>
                    </a:ext>
                  </a:extLst>
                </p14:cNvPr>
                <p14:cNvContentPartPr/>
                <p14:nvPr/>
              </p14:nvContentPartPr>
              <p14:xfrm>
                <a:off x="6581203" y="2003175"/>
                <a:ext cx="102960" cy="225000"/>
              </p14:xfrm>
            </p:contentPart>
          </mc:Choice>
          <mc:Fallback>
            <p:pic>
              <p:nvPicPr>
                <p:cNvPr id="185" name="Freihand 184">
                  <a:extLst>
                    <a:ext uri="{FF2B5EF4-FFF2-40B4-BE49-F238E27FC236}">
                      <a16:creationId xmlns:a16="http://schemas.microsoft.com/office/drawing/2014/main" id="{7A42A6E8-58BD-61B1-8CCB-5C1E5B921246}"/>
                    </a:ext>
                  </a:extLst>
                </p:cNvPr>
                <p:cNvPicPr/>
                <p:nvPr/>
              </p:nvPicPr>
              <p:blipFill>
                <a:blip r:embed="rId232"/>
                <a:stretch>
                  <a:fillRect/>
                </a:stretch>
              </p:blipFill>
              <p:spPr>
                <a:xfrm>
                  <a:off x="6563203" y="1985535"/>
                  <a:ext cx="138600" cy="26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3">
              <p14:nvContentPartPr>
                <p14:cNvPr id="186" name="Freihand 185">
                  <a:extLst>
                    <a:ext uri="{FF2B5EF4-FFF2-40B4-BE49-F238E27FC236}">
                      <a16:creationId xmlns:a16="http://schemas.microsoft.com/office/drawing/2014/main" id="{C04C1B32-F448-5EA0-28B1-6567F5198EC2}"/>
                    </a:ext>
                  </a:extLst>
                </p14:cNvPr>
                <p14:cNvContentPartPr/>
                <p14:nvPr/>
              </p14:nvContentPartPr>
              <p14:xfrm>
                <a:off x="6740683" y="2119815"/>
                <a:ext cx="111960" cy="37080"/>
              </p14:xfrm>
            </p:contentPart>
          </mc:Choice>
          <mc:Fallback>
            <p:pic>
              <p:nvPicPr>
                <p:cNvPr id="186" name="Freihand 185">
                  <a:extLst>
                    <a:ext uri="{FF2B5EF4-FFF2-40B4-BE49-F238E27FC236}">
                      <a16:creationId xmlns:a16="http://schemas.microsoft.com/office/drawing/2014/main" id="{C04C1B32-F448-5EA0-28B1-6567F5198EC2}"/>
                    </a:ext>
                  </a:extLst>
                </p:cNvPr>
                <p:cNvPicPr/>
                <p:nvPr/>
              </p:nvPicPr>
              <p:blipFill>
                <a:blip r:embed="rId234"/>
                <a:stretch>
                  <a:fillRect/>
                </a:stretch>
              </p:blipFill>
              <p:spPr>
                <a:xfrm>
                  <a:off x="6723043" y="2102175"/>
                  <a:ext cx="147600" cy="72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5">
              <p14:nvContentPartPr>
                <p14:cNvPr id="187" name="Freihand 186">
                  <a:extLst>
                    <a:ext uri="{FF2B5EF4-FFF2-40B4-BE49-F238E27FC236}">
                      <a16:creationId xmlns:a16="http://schemas.microsoft.com/office/drawing/2014/main" id="{05E0504C-218E-FBFA-808F-83FE13B5EFFA}"/>
                    </a:ext>
                  </a:extLst>
                </p14:cNvPr>
                <p14:cNvContentPartPr/>
                <p14:nvPr/>
              </p14:nvContentPartPr>
              <p14:xfrm>
                <a:off x="6954163" y="1947735"/>
                <a:ext cx="37800" cy="295560"/>
              </p14:xfrm>
            </p:contentPart>
          </mc:Choice>
          <mc:Fallback>
            <p:pic>
              <p:nvPicPr>
                <p:cNvPr id="187" name="Freihand 186">
                  <a:extLst>
                    <a:ext uri="{FF2B5EF4-FFF2-40B4-BE49-F238E27FC236}">
                      <a16:creationId xmlns:a16="http://schemas.microsoft.com/office/drawing/2014/main" id="{05E0504C-218E-FBFA-808F-83FE13B5EFFA}"/>
                    </a:ext>
                  </a:extLst>
                </p:cNvPr>
                <p:cNvPicPr/>
                <p:nvPr/>
              </p:nvPicPr>
              <p:blipFill>
                <a:blip r:embed="rId236"/>
                <a:stretch>
                  <a:fillRect/>
                </a:stretch>
              </p:blipFill>
              <p:spPr>
                <a:xfrm>
                  <a:off x="6936523" y="1930095"/>
                  <a:ext cx="73440" cy="331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7">
              <p14:nvContentPartPr>
                <p14:cNvPr id="188" name="Freihand 187">
                  <a:extLst>
                    <a:ext uri="{FF2B5EF4-FFF2-40B4-BE49-F238E27FC236}">
                      <a16:creationId xmlns:a16="http://schemas.microsoft.com/office/drawing/2014/main" id="{66AF7C32-F0F1-A3C5-535D-CD6B9BB9C2A1}"/>
                    </a:ext>
                  </a:extLst>
                </p14:cNvPr>
                <p14:cNvContentPartPr/>
                <p14:nvPr/>
              </p14:nvContentPartPr>
              <p14:xfrm>
                <a:off x="6892243" y="2033775"/>
                <a:ext cx="182160" cy="36720"/>
              </p14:xfrm>
            </p:contentPart>
          </mc:Choice>
          <mc:Fallback>
            <p:pic>
              <p:nvPicPr>
                <p:cNvPr id="188" name="Freihand 187">
                  <a:extLst>
                    <a:ext uri="{FF2B5EF4-FFF2-40B4-BE49-F238E27FC236}">
                      <a16:creationId xmlns:a16="http://schemas.microsoft.com/office/drawing/2014/main" id="{66AF7C32-F0F1-A3C5-535D-CD6B9BB9C2A1}"/>
                    </a:ext>
                  </a:extLst>
                </p:cNvPr>
                <p:cNvPicPr/>
                <p:nvPr/>
              </p:nvPicPr>
              <p:blipFill>
                <a:blip r:embed="rId238"/>
                <a:stretch>
                  <a:fillRect/>
                </a:stretch>
              </p:blipFill>
              <p:spPr>
                <a:xfrm>
                  <a:off x="6874243" y="2015775"/>
                  <a:ext cx="217800" cy="72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39">
              <p14:nvContentPartPr>
                <p14:cNvPr id="189" name="Freihand 188">
                  <a:extLst>
                    <a:ext uri="{FF2B5EF4-FFF2-40B4-BE49-F238E27FC236}">
                      <a16:creationId xmlns:a16="http://schemas.microsoft.com/office/drawing/2014/main" id="{785C6133-D38B-E9C4-9139-DA041AE55643}"/>
                    </a:ext>
                  </a:extLst>
                </p14:cNvPr>
                <p14:cNvContentPartPr/>
                <p14:nvPr/>
              </p14:nvContentPartPr>
              <p14:xfrm>
                <a:off x="7091323" y="1855935"/>
                <a:ext cx="69480" cy="435240"/>
              </p14:xfrm>
            </p:contentPart>
          </mc:Choice>
          <mc:Fallback>
            <p:pic>
              <p:nvPicPr>
                <p:cNvPr id="189" name="Freihand 188">
                  <a:extLst>
                    <a:ext uri="{FF2B5EF4-FFF2-40B4-BE49-F238E27FC236}">
                      <a16:creationId xmlns:a16="http://schemas.microsoft.com/office/drawing/2014/main" id="{785C6133-D38B-E9C4-9139-DA041AE55643}"/>
                    </a:ext>
                  </a:extLst>
                </p:cNvPr>
                <p:cNvPicPr/>
                <p:nvPr/>
              </p:nvPicPr>
              <p:blipFill>
                <a:blip r:embed="rId240"/>
                <a:stretch>
                  <a:fillRect/>
                </a:stretch>
              </p:blipFill>
              <p:spPr>
                <a:xfrm>
                  <a:off x="7073683" y="1837935"/>
                  <a:ext cx="105120" cy="470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1">
              <p14:nvContentPartPr>
                <p14:cNvPr id="191" name="Freihand 190">
                  <a:extLst>
                    <a:ext uri="{FF2B5EF4-FFF2-40B4-BE49-F238E27FC236}">
                      <a16:creationId xmlns:a16="http://schemas.microsoft.com/office/drawing/2014/main" id="{65344A81-26D3-9F19-7E97-7380FD534FA1}"/>
                    </a:ext>
                  </a:extLst>
                </p14:cNvPr>
                <p14:cNvContentPartPr/>
                <p14:nvPr/>
              </p14:nvContentPartPr>
              <p14:xfrm>
                <a:off x="6532243" y="1968615"/>
                <a:ext cx="144360" cy="278280"/>
              </p14:xfrm>
            </p:contentPart>
          </mc:Choice>
          <mc:Fallback>
            <p:pic>
              <p:nvPicPr>
                <p:cNvPr id="191" name="Freihand 190">
                  <a:extLst>
                    <a:ext uri="{FF2B5EF4-FFF2-40B4-BE49-F238E27FC236}">
                      <a16:creationId xmlns:a16="http://schemas.microsoft.com/office/drawing/2014/main" id="{65344A81-26D3-9F19-7E97-7380FD534FA1}"/>
                    </a:ext>
                  </a:extLst>
                </p:cNvPr>
                <p:cNvPicPr/>
                <p:nvPr/>
              </p:nvPicPr>
              <p:blipFill>
                <a:blip r:embed="rId242"/>
                <a:stretch>
                  <a:fillRect/>
                </a:stretch>
              </p:blipFill>
              <p:spPr>
                <a:xfrm>
                  <a:off x="6514603" y="1950975"/>
                  <a:ext cx="180000" cy="3139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5" name="Gruppieren 194">
            <a:extLst>
              <a:ext uri="{FF2B5EF4-FFF2-40B4-BE49-F238E27FC236}">
                <a16:creationId xmlns:a16="http://schemas.microsoft.com/office/drawing/2014/main" id="{3CB6AB98-B80C-0D0A-F447-D8F668599B64}"/>
              </a:ext>
            </a:extLst>
          </p:cNvPr>
          <p:cNvGrpSpPr/>
          <p:nvPr/>
        </p:nvGrpSpPr>
        <p:grpSpPr>
          <a:xfrm>
            <a:off x="7463923" y="2010375"/>
            <a:ext cx="286920" cy="291240"/>
            <a:chOff x="7463923" y="2010375"/>
            <a:chExt cx="286920" cy="2912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43">
              <p14:nvContentPartPr>
                <p14:cNvPr id="193" name="Freihand 192">
                  <a:extLst>
                    <a:ext uri="{FF2B5EF4-FFF2-40B4-BE49-F238E27FC236}">
                      <a16:creationId xmlns:a16="http://schemas.microsoft.com/office/drawing/2014/main" id="{7D21EFAC-D214-5F4C-0C8C-7576E05813E8}"/>
                    </a:ext>
                  </a:extLst>
                </p14:cNvPr>
                <p14:cNvContentPartPr/>
                <p14:nvPr/>
              </p14:nvContentPartPr>
              <p14:xfrm>
                <a:off x="7463923" y="2010375"/>
                <a:ext cx="64440" cy="221040"/>
              </p14:xfrm>
            </p:contentPart>
          </mc:Choice>
          <mc:Fallback>
            <p:pic>
              <p:nvPicPr>
                <p:cNvPr id="193" name="Freihand 192">
                  <a:extLst>
                    <a:ext uri="{FF2B5EF4-FFF2-40B4-BE49-F238E27FC236}">
                      <a16:creationId xmlns:a16="http://schemas.microsoft.com/office/drawing/2014/main" id="{7D21EFAC-D214-5F4C-0C8C-7576E05813E8}"/>
                    </a:ext>
                  </a:extLst>
                </p:cNvPr>
                <p:cNvPicPr/>
                <p:nvPr/>
              </p:nvPicPr>
              <p:blipFill>
                <a:blip r:embed="rId244"/>
                <a:stretch>
                  <a:fillRect/>
                </a:stretch>
              </p:blipFill>
              <p:spPr>
                <a:xfrm>
                  <a:off x="7445923" y="1992375"/>
                  <a:ext cx="100080" cy="25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5">
              <p14:nvContentPartPr>
                <p14:cNvPr id="194" name="Freihand 193">
                  <a:extLst>
                    <a:ext uri="{FF2B5EF4-FFF2-40B4-BE49-F238E27FC236}">
                      <a16:creationId xmlns:a16="http://schemas.microsoft.com/office/drawing/2014/main" id="{DC8A13CC-402D-CB3C-BCD2-0EF002B8D65F}"/>
                    </a:ext>
                  </a:extLst>
                </p14:cNvPr>
                <p14:cNvContentPartPr/>
                <p14:nvPr/>
              </p14:nvContentPartPr>
              <p14:xfrm>
                <a:off x="7592803" y="2122335"/>
                <a:ext cx="158040" cy="179280"/>
              </p14:xfrm>
            </p:contentPart>
          </mc:Choice>
          <mc:Fallback>
            <p:pic>
              <p:nvPicPr>
                <p:cNvPr id="194" name="Freihand 193">
                  <a:extLst>
                    <a:ext uri="{FF2B5EF4-FFF2-40B4-BE49-F238E27FC236}">
                      <a16:creationId xmlns:a16="http://schemas.microsoft.com/office/drawing/2014/main" id="{DC8A13CC-402D-CB3C-BCD2-0EF002B8D65F}"/>
                    </a:ext>
                  </a:extLst>
                </p:cNvPr>
                <p:cNvPicPr/>
                <p:nvPr/>
              </p:nvPicPr>
              <p:blipFill>
                <a:blip r:embed="rId246"/>
                <a:stretch>
                  <a:fillRect/>
                </a:stretch>
              </p:blipFill>
              <p:spPr>
                <a:xfrm>
                  <a:off x="7575163" y="2104695"/>
                  <a:ext cx="193680" cy="2149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737FA28D-2ABF-2C0C-D034-5E00E3DB2A0D}"/>
              </a:ext>
            </a:extLst>
          </p:cNvPr>
          <p:cNvGrpSpPr/>
          <p:nvPr/>
        </p:nvGrpSpPr>
        <p:grpSpPr>
          <a:xfrm>
            <a:off x="7926883" y="1951335"/>
            <a:ext cx="159480" cy="308880"/>
            <a:chOff x="7926883" y="1951335"/>
            <a:chExt cx="159480" cy="3088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47">
              <p14:nvContentPartPr>
                <p14:cNvPr id="196" name="Freihand 195">
                  <a:extLst>
                    <a:ext uri="{FF2B5EF4-FFF2-40B4-BE49-F238E27FC236}">
                      <a16:creationId xmlns:a16="http://schemas.microsoft.com/office/drawing/2014/main" id="{94105197-D39E-8A78-787E-C6B24B6460C8}"/>
                    </a:ext>
                  </a:extLst>
                </p14:cNvPr>
                <p14:cNvContentPartPr/>
                <p14:nvPr/>
              </p14:nvContentPartPr>
              <p14:xfrm>
                <a:off x="7926883" y="2096415"/>
                <a:ext cx="159480" cy="27720"/>
              </p14:xfrm>
            </p:contentPart>
          </mc:Choice>
          <mc:Fallback>
            <p:pic>
              <p:nvPicPr>
                <p:cNvPr id="196" name="Freihand 195">
                  <a:extLst>
                    <a:ext uri="{FF2B5EF4-FFF2-40B4-BE49-F238E27FC236}">
                      <a16:creationId xmlns:a16="http://schemas.microsoft.com/office/drawing/2014/main" id="{94105197-D39E-8A78-787E-C6B24B6460C8}"/>
                    </a:ext>
                  </a:extLst>
                </p:cNvPr>
                <p:cNvPicPr/>
                <p:nvPr/>
              </p:nvPicPr>
              <p:blipFill>
                <a:blip r:embed="rId248"/>
                <a:stretch>
                  <a:fillRect/>
                </a:stretch>
              </p:blipFill>
              <p:spPr>
                <a:xfrm>
                  <a:off x="7908883" y="2078415"/>
                  <a:ext cx="195120" cy="6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49">
              <p14:nvContentPartPr>
                <p14:cNvPr id="197" name="Freihand 196">
                  <a:extLst>
                    <a:ext uri="{FF2B5EF4-FFF2-40B4-BE49-F238E27FC236}">
                      <a16:creationId xmlns:a16="http://schemas.microsoft.com/office/drawing/2014/main" id="{8F7F7AEB-F1F0-21FA-37FA-2784B1474015}"/>
                    </a:ext>
                  </a:extLst>
                </p14:cNvPr>
                <p14:cNvContentPartPr/>
                <p14:nvPr/>
              </p14:nvContentPartPr>
              <p14:xfrm>
                <a:off x="8003203" y="1951335"/>
                <a:ext cx="25200" cy="308880"/>
              </p14:xfrm>
            </p:contentPart>
          </mc:Choice>
          <mc:Fallback>
            <p:pic>
              <p:nvPicPr>
                <p:cNvPr id="197" name="Freihand 196">
                  <a:extLst>
                    <a:ext uri="{FF2B5EF4-FFF2-40B4-BE49-F238E27FC236}">
                      <a16:creationId xmlns:a16="http://schemas.microsoft.com/office/drawing/2014/main" id="{8F7F7AEB-F1F0-21FA-37FA-2784B1474015}"/>
                    </a:ext>
                  </a:extLst>
                </p:cNvPr>
                <p:cNvPicPr/>
                <p:nvPr/>
              </p:nvPicPr>
              <p:blipFill>
                <a:blip r:embed="rId250"/>
                <a:stretch>
                  <a:fillRect/>
                </a:stretch>
              </p:blipFill>
              <p:spPr>
                <a:xfrm>
                  <a:off x="7985563" y="1933335"/>
                  <a:ext cx="60840" cy="344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7" name="Gruppieren 206">
            <a:extLst>
              <a:ext uri="{FF2B5EF4-FFF2-40B4-BE49-F238E27FC236}">
                <a16:creationId xmlns:a16="http://schemas.microsoft.com/office/drawing/2014/main" id="{EDBBA788-24EC-F8AC-7745-D00AEFC43CDD}"/>
              </a:ext>
            </a:extLst>
          </p:cNvPr>
          <p:cNvGrpSpPr/>
          <p:nvPr/>
        </p:nvGrpSpPr>
        <p:grpSpPr>
          <a:xfrm>
            <a:off x="8337283" y="1898775"/>
            <a:ext cx="640080" cy="398520"/>
            <a:chOff x="8337283" y="1898775"/>
            <a:chExt cx="640080" cy="398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51">
              <p14:nvContentPartPr>
                <p14:cNvPr id="199" name="Freihand 198">
                  <a:extLst>
                    <a:ext uri="{FF2B5EF4-FFF2-40B4-BE49-F238E27FC236}">
                      <a16:creationId xmlns:a16="http://schemas.microsoft.com/office/drawing/2014/main" id="{064A96A9-E87C-2262-3A0B-4B03D09AB7B3}"/>
                    </a:ext>
                  </a:extLst>
                </p14:cNvPr>
                <p14:cNvContentPartPr/>
                <p14:nvPr/>
              </p14:nvContentPartPr>
              <p14:xfrm>
                <a:off x="8408563" y="1898775"/>
                <a:ext cx="28440" cy="344880"/>
              </p14:xfrm>
            </p:contentPart>
          </mc:Choice>
          <mc:Fallback>
            <p:pic>
              <p:nvPicPr>
                <p:cNvPr id="199" name="Freihand 198">
                  <a:extLst>
                    <a:ext uri="{FF2B5EF4-FFF2-40B4-BE49-F238E27FC236}">
                      <a16:creationId xmlns:a16="http://schemas.microsoft.com/office/drawing/2014/main" id="{064A96A9-E87C-2262-3A0B-4B03D09AB7B3}"/>
                    </a:ext>
                  </a:extLst>
                </p:cNvPr>
                <p:cNvPicPr/>
                <p:nvPr/>
              </p:nvPicPr>
              <p:blipFill>
                <a:blip r:embed="rId252"/>
                <a:stretch>
                  <a:fillRect/>
                </a:stretch>
              </p:blipFill>
              <p:spPr>
                <a:xfrm>
                  <a:off x="8390923" y="1880775"/>
                  <a:ext cx="64080" cy="380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3">
              <p14:nvContentPartPr>
                <p14:cNvPr id="200" name="Freihand 199">
                  <a:extLst>
                    <a:ext uri="{FF2B5EF4-FFF2-40B4-BE49-F238E27FC236}">
                      <a16:creationId xmlns:a16="http://schemas.microsoft.com/office/drawing/2014/main" id="{AB98AD75-8FA3-5E79-A894-3564DF9B2E2A}"/>
                    </a:ext>
                  </a:extLst>
                </p14:cNvPr>
                <p14:cNvContentPartPr/>
                <p14:nvPr/>
              </p14:nvContentPartPr>
              <p14:xfrm>
                <a:off x="8337283" y="2046735"/>
                <a:ext cx="165600" cy="43560"/>
              </p14:xfrm>
            </p:contentPart>
          </mc:Choice>
          <mc:Fallback>
            <p:pic>
              <p:nvPicPr>
                <p:cNvPr id="200" name="Freihand 199">
                  <a:extLst>
                    <a:ext uri="{FF2B5EF4-FFF2-40B4-BE49-F238E27FC236}">
                      <a16:creationId xmlns:a16="http://schemas.microsoft.com/office/drawing/2014/main" id="{AB98AD75-8FA3-5E79-A894-3564DF9B2E2A}"/>
                    </a:ext>
                  </a:extLst>
                </p:cNvPr>
                <p:cNvPicPr/>
                <p:nvPr/>
              </p:nvPicPr>
              <p:blipFill>
                <a:blip r:embed="rId254"/>
                <a:stretch>
                  <a:fillRect/>
                </a:stretch>
              </p:blipFill>
              <p:spPr>
                <a:xfrm>
                  <a:off x="8319283" y="2028735"/>
                  <a:ext cx="201240" cy="7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5">
              <p14:nvContentPartPr>
                <p14:cNvPr id="201" name="Freihand 200">
                  <a:extLst>
                    <a:ext uri="{FF2B5EF4-FFF2-40B4-BE49-F238E27FC236}">
                      <a16:creationId xmlns:a16="http://schemas.microsoft.com/office/drawing/2014/main" id="{11414385-9201-7F27-D5B0-853A89532210}"/>
                    </a:ext>
                  </a:extLst>
                </p14:cNvPr>
                <p14:cNvContentPartPr/>
                <p14:nvPr/>
              </p14:nvContentPartPr>
              <p14:xfrm>
                <a:off x="8569843" y="2090295"/>
                <a:ext cx="31320" cy="15480"/>
              </p14:xfrm>
            </p:contentPart>
          </mc:Choice>
          <mc:Fallback>
            <p:pic>
              <p:nvPicPr>
                <p:cNvPr id="201" name="Freihand 200">
                  <a:extLst>
                    <a:ext uri="{FF2B5EF4-FFF2-40B4-BE49-F238E27FC236}">
                      <a16:creationId xmlns:a16="http://schemas.microsoft.com/office/drawing/2014/main" id="{11414385-9201-7F27-D5B0-853A89532210}"/>
                    </a:ext>
                  </a:extLst>
                </p:cNvPr>
                <p:cNvPicPr/>
                <p:nvPr/>
              </p:nvPicPr>
              <p:blipFill>
                <a:blip r:embed="rId256"/>
                <a:stretch>
                  <a:fillRect/>
                </a:stretch>
              </p:blipFill>
              <p:spPr>
                <a:xfrm>
                  <a:off x="8552203" y="2072295"/>
                  <a:ext cx="66960" cy="51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7">
              <p14:nvContentPartPr>
                <p14:cNvPr id="202" name="Freihand 201">
                  <a:extLst>
                    <a:ext uri="{FF2B5EF4-FFF2-40B4-BE49-F238E27FC236}">
                      <a16:creationId xmlns:a16="http://schemas.microsoft.com/office/drawing/2014/main" id="{A7735070-71D3-6502-749E-F0F219A286CD}"/>
                    </a:ext>
                  </a:extLst>
                </p14:cNvPr>
                <p14:cNvContentPartPr/>
                <p14:nvPr/>
              </p14:nvContentPartPr>
              <p14:xfrm>
                <a:off x="8679643" y="1972935"/>
                <a:ext cx="119880" cy="208800"/>
              </p14:xfrm>
            </p:contentPart>
          </mc:Choice>
          <mc:Fallback>
            <p:pic>
              <p:nvPicPr>
                <p:cNvPr id="202" name="Freihand 201">
                  <a:extLst>
                    <a:ext uri="{FF2B5EF4-FFF2-40B4-BE49-F238E27FC236}">
                      <a16:creationId xmlns:a16="http://schemas.microsoft.com/office/drawing/2014/main" id="{A7735070-71D3-6502-749E-F0F219A286CD}"/>
                    </a:ext>
                  </a:extLst>
                </p:cNvPr>
                <p:cNvPicPr/>
                <p:nvPr/>
              </p:nvPicPr>
              <p:blipFill>
                <a:blip r:embed="rId258"/>
                <a:stretch>
                  <a:fillRect/>
                </a:stretch>
              </p:blipFill>
              <p:spPr>
                <a:xfrm>
                  <a:off x="8662003" y="1955295"/>
                  <a:ext cx="155520" cy="24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59">
              <p14:nvContentPartPr>
                <p14:cNvPr id="203" name="Freihand 202">
                  <a:extLst>
                    <a:ext uri="{FF2B5EF4-FFF2-40B4-BE49-F238E27FC236}">
                      <a16:creationId xmlns:a16="http://schemas.microsoft.com/office/drawing/2014/main" id="{14492C3F-1D3E-537C-B290-C2147342F271}"/>
                    </a:ext>
                  </a:extLst>
                </p14:cNvPr>
                <p14:cNvContentPartPr/>
                <p14:nvPr/>
              </p14:nvContentPartPr>
              <p14:xfrm>
                <a:off x="8866483" y="2056455"/>
                <a:ext cx="110880" cy="240840"/>
              </p14:xfrm>
            </p:contentPart>
          </mc:Choice>
          <mc:Fallback>
            <p:pic>
              <p:nvPicPr>
                <p:cNvPr id="203" name="Freihand 202">
                  <a:extLst>
                    <a:ext uri="{FF2B5EF4-FFF2-40B4-BE49-F238E27FC236}">
                      <a16:creationId xmlns:a16="http://schemas.microsoft.com/office/drawing/2014/main" id="{14492C3F-1D3E-537C-B290-C2147342F271}"/>
                    </a:ext>
                  </a:extLst>
                </p:cNvPr>
                <p:cNvPicPr/>
                <p:nvPr/>
              </p:nvPicPr>
              <p:blipFill>
                <a:blip r:embed="rId260"/>
                <a:stretch>
                  <a:fillRect/>
                </a:stretch>
              </p:blipFill>
              <p:spPr>
                <a:xfrm>
                  <a:off x="8848483" y="2038455"/>
                  <a:ext cx="146520" cy="2764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1" name="Gruppieren 210">
            <a:extLst>
              <a:ext uri="{FF2B5EF4-FFF2-40B4-BE49-F238E27FC236}">
                <a16:creationId xmlns:a16="http://schemas.microsoft.com/office/drawing/2014/main" id="{6516D66E-55E7-FC54-FA08-FB7378A743FE}"/>
              </a:ext>
            </a:extLst>
          </p:cNvPr>
          <p:cNvGrpSpPr/>
          <p:nvPr/>
        </p:nvGrpSpPr>
        <p:grpSpPr>
          <a:xfrm>
            <a:off x="9136123" y="1899855"/>
            <a:ext cx="452520" cy="388800"/>
            <a:chOff x="9136123" y="1899855"/>
            <a:chExt cx="452520" cy="3888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61">
              <p14:nvContentPartPr>
                <p14:cNvPr id="204" name="Freihand 203">
                  <a:extLst>
                    <a:ext uri="{FF2B5EF4-FFF2-40B4-BE49-F238E27FC236}">
                      <a16:creationId xmlns:a16="http://schemas.microsoft.com/office/drawing/2014/main" id="{B50B5651-8BA3-5C73-E819-9E4FA8C515DF}"/>
                    </a:ext>
                  </a:extLst>
                </p14:cNvPr>
                <p14:cNvContentPartPr/>
                <p14:nvPr/>
              </p14:nvContentPartPr>
              <p14:xfrm>
                <a:off x="9136123" y="2046735"/>
                <a:ext cx="39960" cy="61920"/>
              </p14:xfrm>
            </p:contentPart>
          </mc:Choice>
          <mc:Fallback>
            <p:pic>
              <p:nvPicPr>
                <p:cNvPr id="204" name="Freihand 203">
                  <a:extLst>
                    <a:ext uri="{FF2B5EF4-FFF2-40B4-BE49-F238E27FC236}">
                      <a16:creationId xmlns:a16="http://schemas.microsoft.com/office/drawing/2014/main" id="{B50B5651-8BA3-5C73-E819-9E4FA8C515DF}"/>
                    </a:ext>
                  </a:extLst>
                </p:cNvPr>
                <p:cNvPicPr/>
                <p:nvPr/>
              </p:nvPicPr>
              <p:blipFill>
                <a:blip r:embed="rId262"/>
                <a:stretch>
                  <a:fillRect/>
                </a:stretch>
              </p:blipFill>
              <p:spPr>
                <a:xfrm>
                  <a:off x="9118483" y="2029095"/>
                  <a:ext cx="75600" cy="9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3">
              <p14:nvContentPartPr>
                <p14:cNvPr id="205" name="Freihand 204">
                  <a:extLst>
                    <a:ext uri="{FF2B5EF4-FFF2-40B4-BE49-F238E27FC236}">
                      <a16:creationId xmlns:a16="http://schemas.microsoft.com/office/drawing/2014/main" id="{4A3C56EE-6664-247A-BE84-85CF6291E454}"/>
                    </a:ext>
                  </a:extLst>
                </p14:cNvPr>
                <p14:cNvContentPartPr/>
                <p14:nvPr/>
              </p14:nvContentPartPr>
              <p14:xfrm>
                <a:off x="9322963" y="1954215"/>
                <a:ext cx="45720" cy="45000"/>
              </p14:xfrm>
            </p:contentPart>
          </mc:Choice>
          <mc:Fallback>
            <p:pic>
              <p:nvPicPr>
                <p:cNvPr id="205" name="Freihand 204">
                  <a:extLst>
                    <a:ext uri="{FF2B5EF4-FFF2-40B4-BE49-F238E27FC236}">
                      <a16:creationId xmlns:a16="http://schemas.microsoft.com/office/drawing/2014/main" id="{4A3C56EE-6664-247A-BE84-85CF6291E454}"/>
                    </a:ext>
                  </a:extLst>
                </p:cNvPr>
                <p:cNvPicPr/>
                <p:nvPr/>
              </p:nvPicPr>
              <p:blipFill>
                <a:blip r:embed="rId264"/>
                <a:stretch>
                  <a:fillRect/>
                </a:stretch>
              </p:blipFill>
              <p:spPr>
                <a:xfrm>
                  <a:off x="9304963" y="1936575"/>
                  <a:ext cx="81360" cy="80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5">
              <p14:nvContentPartPr>
                <p14:cNvPr id="208" name="Freihand 207">
                  <a:extLst>
                    <a:ext uri="{FF2B5EF4-FFF2-40B4-BE49-F238E27FC236}">
                      <a16:creationId xmlns:a16="http://schemas.microsoft.com/office/drawing/2014/main" id="{B0F783E9-6182-91C7-3642-87891B933B73}"/>
                    </a:ext>
                  </a:extLst>
                </p14:cNvPr>
                <p14:cNvContentPartPr/>
                <p14:nvPr/>
              </p14:nvContentPartPr>
              <p14:xfrm>
                <a:off x="9340243" y="1899855"/>
                <a:ext cx="32400" cy="312480"/>
              </p14:xfrm>
            </p:contentPart>
          </mc:Choice>
          <mc:Fallback>
            <p:pic>
              <p:nvPicPr>
                <p:cNvPr id="208" name="Freihand 207">
                  <a:extLst>
                    <a:ext uri="{FF2B5EF4-FFF2-40B4-BE49-F238E27FC236}">
                      <a16:creationId xmlns:a16="http://schemas.microsoft.com/office/drawing/2014/main" id="{B0F783E9-6182-91C7-3642-87891B933B73}"/>
                    </a:ext>
                  </a:extLst>
                </p:cNvPr>
                <p:cNvPicPr/>
                <p:nvPr/>
              </p:nvPicPr>
              <p:blipFill>
                <a:blip r:embed="rId266"/>
                <a:stretch>
                  <a:fillRect/>
                </a:stretch>
              </p:blipFill>
              <p:spPr>
                <a:xfrm>
                  <a:off x="9322603" y="1881855"/>
                  <a:ext cx="68040" cy="34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7">
              <p14:nvContentPartPr>
                <p14:cNvPr id="209" name="Freihand 208">
                  <a:extLst>
                    <a:ext uri="{FF2B5EF4-FFF2-40B4-BE49-F238E27FC236}">
                      <a16:creationId xmlns:a16="http://schemas.microsoft.com/office/drawing/2014/main" id="{15E00DFD-B0AB-8AC7-F022-9465093F69DF}"/>
                    </a:ext>
                  </a:extLst>
                </p14:cNvPr>
                <p14:cNvContentPartPr/>
                <p14:nvPr/>
              </p14:nvContentPartPr>
              <p14:xfrm>
                <a:off x="9262483" y="1988775"/>
                <a:ext cx="181440" cy="34200"/>
              </p14:xfrm>
            </p:contentPart>
          </mc:Choice>
          <mc:Fallback>
            <p:pic>
              <p:nvPicPr>
                <p:cNvPr id="209" name="Freihand 208">
                  <a:extLst>
                    <a:ext uri="{FF2B5EF4-FFF2-40B4-BE49-F238E27FC236}">
                      <a16:creationId xmlns:a16="http://schemas.microsoft.com/office/drawing/2014/main" id="{15E00DFD-B0AB-8AC7-F022-9465093F69DF}"/>
                    </a:ext>
                  </a:extLst>
                </p:cNvPr>
                <p:cNvPicPr/>
                <p:nvPr/>
              </p:nvPicPr>
              <p:blipFill>
                <a:blip r:embed="rId268"/>
                <a:stretch>
                  <a:fillRect/>
                </a:stretch>
              </p:blipFill>
              <p:spPr>
                <a:xfrm>
                  <a:off x="9244483" y="1970775"/>
                  <a:ext cx="217080" cy="69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69">
              <p14:nvContentPartPr>
                <p14:cNvPr id="210" name="Freihand 209">
                  <a:extLst>
                    <a:ext uri="{FF2B5EF4-FFF2-40B4-BE49-F238E27FC236}">
                      <a16:creationId xmlns:a16="http://schemas.microsoft.com/office/drawing/2014/main" id="{B0B85F67-E96C-79B0-DE6A-E94DB5116D34}"/>
                    </a:ext>
                  </a:extLst>
                </p14:cNvPr>
                <p14:cNvContentPartPr/>
                <p14:nvPr/>
              </p14:nvContentPartPr>
              <p14:xfrm>
                <a:off x="9436723" y="2088855"/>
                <a:ext cx="151920" cy="199800"/>
              </p14:xfrm>
            </p:contentPart>
          </mc:Choice>
          <mc:Fallback>
            <p:pic>
              <p:nvPicPr>
                <p:cNvPr id="210" name="Freihand 209">
                  <a:extLst>
                    <a:ext uri="{FF2B5EF4-FFF2-40B4-BE49-F238E27FC236}">
                      <a16:creationId xmlns:a16="http://schemas.microsoft.com/office/drawing/2014/main" id="{B0B85F67-E96C-79B0-DE6A-E94DB5116D34}"/>
                    </a:ext>
                  </a:extLst>
                </p:cNvPr>
                <p:cNvPicPr/>
                <p:nvPr/>
              </p:nvPicPr>
              <p:blipFill>
                <a:blip r:embed="rId270"/>
                <a:stretch>
                  <a:fillRect/>
                </a:stretch>
              </p:blipFill>
              <p:spPr>
                <a:xfrm>
                  <a:off x="9419083" y="2070855"/>
                  <a:ext cx="187560" cy="2354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18" name="Gruppieren 217">
            <a:extLst>
              <a:ext uri="{FF2B5EF4-FFF2-40B4-BE49-F238E27FC236}">
                <a16:creationId xmlns:a16="http://schemas.microsoft.com/office/drawing/2014/main" id="{5B654B11-FB98-6655-4657-3A4EAD5A0F81}"/>
              </a:ext>
            </a:extLst>
          </p:cNvPr>
          <p:cNvGrpSpPr/>
          <p:nvPr/>
        </p:nvGrpSpPr>
        <p:grpSpPr>
          <a:xfrm>
            <a:off x="4547203" y="3274335"/>
            <a:ext cx="874800" cy="517680"/>
            <a:chOff x="4547203" y="3274335"/>
            <a:chExt cx="874800" cy="51768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71">
              <p14:nvContentPartPr>
                <p14:cNvPr id="212" name="Freihand 211">
                  <a:extLst>
                    <a:ext uri="{FF2B5EF4-FFF2-40B4-BE49-F238E27FC236}">
                      <a16:creationId xmlns:a16="http://schemas.microsoft.com/office/drawing/2014/main" id="{95FC9370-4686-6B11-AB6F-B48E708C8199}"/>
                    </a:ext>
                  </a:extLst>
                </p14:cNvPr>
                <p14:cNvContentPartPr/>
                <p14:nvPr/>
              </p14:nvContentPartPr>
              <p14:xfrm>
                <a:off x="4547203" y="3336975"/>
                <a:ext cx="125280" cy="331200"/>
              </p14:xfrm>
            </p:contentPart>
          </mc:Choice>
          <mc:Fallback>
            <p:pic>
              <p:nvPicPr>
                <p:cNvPr id="212" name="Freihand 211">
                  <a:extLst>
                    <a:ext uri="{FF2B5EF4-FFF2-40B4-BE49-F238E27FC236}">
                      <a16:creationId xmlns:a16="http://schemas.microsoft.com/office/drawing/2014/main" id="{95FC9370-4686-6B11-AB6F-B48E708C8199}"/>
                    </a:ext>
                  </a:extLst>
                </p:cNvPr>
                <p:cNvPicPr/>
                <p:nvPr/>
              </p:nvPicPr>
              <p:blipFill>
                <a:blip r:embed="rId272"/>
                <a:stretch>
                  <a:fillRect/>
                </a:stretch>
              </p:blipFill>
              <p:spPr>
                <a:xfrm>
                  <a:off x="4529563" y="3318975"/>
                  <a:ext cx="160920" cy="366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3">
              <p14:nvContentPartPr>
                <p14:cNvPr id="213" name="Freihand 212">
                  <a:extLst>
                    <a:ext uri="{FF2B5EF4-FFF2-40B4-BE49-F238E27FC236}">
                      <a16:creationId xmlns:a16="http://schemas.microsoft.com/office/drawing/2014/main" id="{3E8E321B-3080-4DA9-897C-1E57ACC24FE0}"/>
                    </a:ext>
                  </a:extLst>
                </p14:cNvPr>
                <p14:cNvContentPartPr/>
                <p14:nvPr/>
              </p14:nvContentPartPr>
              <p14:xfrm>
                <a:off x="4708123" y="3478815"/>
                <a:ext cx="139320" cy="313200"/>
              </p14:xfrm>
            </p:contentPart>
          </mc:Choice>
          <mc:Fallback>
            <p:pic>
              <p:nvPicPr>
                <p:cNvPr id="213" name="Freihand 212">
                  <a:extLst>
                    <a:ext uri="{FF2B5EF4-FFF2-40B4-BE49-F238E27FC236}">
                      <a16:creationId xmlns:a16="http://schemas.microsoft.com/office/drawing/2014/main" id="{3E8E321B-3080-4DA9-897C-1E57ACC24FE0}"/>
                    </a:ext>
                  </a:extLst>
                </p:cNvPr>
                <p:cNvPicPr/>
                <p:nvPr/>
              </p:nvPicPr>
              <p:blipFill>
                <a:blip r:embed="rId274"/>
                <a:stretch>
                  <a:fillRect/>
                </a:stretch>
              </p:blipFill>
              <p:spPr>
                <a:xfrm>
                  <a:off x="4690483" y="3461175"/>
                  <a:ext cx="174960" cy="348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5">
              <p14:nvContentPartPr>
                <p14:cNvPr id="214" name="Freihand 213">
                  <a:extLst>
                    <a:ext uri="{FF2B5EF4-FFF2-40B4-BE49-F238E27FC236}">
                      <a16:creationId xmlns:a16="http://schemas.microsoft.com/office/drawing/2014/main" id="{0EF5C295-7A96-17FE-3979-6740C0EB6689}"/>
                    </a:ext>
                  </a:extLst>
                </p14:cNvPr>
                <p14:cNvContentPartPr/>
                <p14:nvPr/>
              </p14:nvContentPartPr>
              <p14:xfrm>
                <a:off x="4976683" y="3501495"/>
                <a:ext cx="22320" cy="28080"/>
              </p14:xfrm>
            </p:contentPart>
          </mc:Choice>
          <mc:Fallback>
            <p:pic>
              <p:nvPicPr>
                <p:cNvPr id="214" name="Freihand 213">
                  <a:extLst>
                    <a:ext uri="{FF2B5EF4-FFF2-40B4-BE49-F238E27FC236}">
                      <a16:creationId xmlns:a16="http://schemas.microsoft.com/office/drawing/2014/main" id="{0EF5C295-7A96-17FE-3979-6740C0EB6689}"/>
                    </a:ext>
                  </a:extLst>
                </p:cNvPr>
                <p:cNvPicPr/>
                <p:nvPr/>
              </p:nvPicPr>
              <p:blipFill>
                <a:blip r:embed="rId276"/>
                <a:stretch>
                  <a:fillRect/>
                </a:stretch>
              </p:blipFill>
              <p:spPr>
                <a:xfrm>
                  <a:off x="4959043" y="3483495"/>
                  <a:ext cx="57960" cy="6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7">
              <p14:nvContentPartPr>
                <p14:cNvPr id="215" name="Freihand 214">
                  <a:extLst>
                    <a:ext uri="{FF2B5EF4-FFF2-40B4-BE49-F238E27FC236}">
                      <a16:creationId xmlns:a16="http://schemas.microsoft.com/office/drawing/2014/main" id="{71089E9A-E99E-5DEA-A2CD-774BD1876758}"/>
                    </a:ext>
                  </a:extLst>
                </p14:cNvPr>
                <p14:cNvContentPartPr/>
                <p14:nvPr/>
              </p14:nvContentPartPr>
              <p14:xfrm>
                <a:off x="5152723" y="3274335"/>
                <a:ext cx="57960" cy="327960"/>
              </p14:xfrm>
            </p:contentPart>
          </mc:Choice>
          <mc:Fallback>
            <p:pic>
              <p:nvPicPr>
                <p:cNvPr id="215" name="Freihand 214">
                  <a:extLst>
                    <a:ext uri="{FF2B5EF4-FFF2-40B4-BE49-F238E27FC236}">
                      <a16:creationId xmlns:a16="http://schemas.microsoft.com/office/drawing/2014/main" id="{71089E9A-E99E-5DEA-A2CD-774BD1876758}"/>
                    </a:ext>
                  </a:extLst>
                </p:cNvPr>
                <p:cNvPicPr/>
                <p:nvPr/>
              </p:nvPicPr>
              <p:blipFill>
                <a:blip r:embed="rId278"/>
                <a:stretch>
                  <a:fillRect/>
                </a:stretch>
              </p:blipFill>
              <p:spPr>
                <a:xfrm>
                  <a:off x="5135083" y="3256335"/>
                  <a:ext cx="93600" cy="363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79">
              <p14:nvContentPartPr>
                <p14:cNvPr id="216" name="Freihand 215">
                  <a:extLst>
                    <a:ext uri="{FF2B5EF4-FFF2-40B4-BE49-F238E27FC236}">
                      <a16:creationId xmlns:a16="http://schemas.microsoft.com/office/drawing/2014/main" id="{24B5EE3D-793E-D8E8-1502-812C23E3F3AD}"/>
                    </a:ext>
                  </a:extLst>
                </p14:cNvPr>
                <p14:cNvContentPartPr/>
                <p14:nvPr/>
              </p14:nvContentPartPr>
              <p14:xfrm>
                <a:off x="5097643" y="3411135"/>
                <a:ext cx="201960" cy="47160"/>
              </p14:xfrm>
            </p:contentPart>
          </mc:Choice>
          <mc:Fallback>
            <p:pic>
              <p:nvPicPr>
                <p:cNvPr id="216" name="Freihand 215">
                  <a:extLst>
                    <a:ext uri="{FF2B5EF4-FFF2-40B4-BE49-F238E27FC236}">
                      <a16:creationId xmlns:a16="http://schemas.microsoft.com/office/drawing/2014/main" id="{24B5EE3D-793E-D8E8-1502-812C23E3F3AD}"/>
                    </a:ext>
                  </a:extLst>
                </p:cNvPr>
                <p:cNvPicPr/>
                <p:nvPr/>
              </p:nvPicPr>
              <p:blipFill>
                <a:blip r:embed="rId280"/>
                <a:stretch>
                  <a:fillRect/>
                </a:stretch>
              </p:blipFill>
              <p:spPr>
                <a:xfrm>
                  <a:off x="5080003" y="3393135"/>
                  <a:ext cx="237600" cy="82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1">
              <p14:nvContentPartPr>
                <p14:cNvPr id="217" name="Freihand 216">
                  <a:extLst>
                    <a:ext uri="{FF2B5EF4-FFF2-40B4-BE49-F238E27FC236}">
                      <a16:creationId xmlns:a16="http://schemas.microsoft.com/office/drawing/2014/main" id="{26EE5EC0-1275-A0EC-4207-1FF17323DE84}"/>
                    </a:ext>
                  </a:extLst>
                </p14:cNvPr>
                <p14:cNvContentPartPr/>
                <p14:nvPr/>
              </p14:nvContentPartPr>
              <p14:xfrm>
                <a:off x="5279803" y="3495735"/>
                <a:ext cx="142200" cy="261720"/>
              </p14:xfrm>
            </p:contentPart>
          </mc:Choice>
          <mc:Fallback>
            <p:pic>
              <p:nvPicPr>
                <p:cNvPr id="217" name="Freihand 216">
                  <a:extLst>
                    <a:ext uri="{FF2B5EF4-FFF2-40B4-BE49-F238E27FC236}">
                      <a16:creationId xmlns:a16="http://schemas.microsoft.com/office/drawing/2014/main" id="{26EE5EC0-1275-A0EC-4207-1FF17323DE84}"/>
                    </a:ext>
                  </a:extLst>
                </p:cNvPr>
                <p:cNvPicPr/>
                <p:nvPr/>
              </p:nvPicPr>
              <p:blipFill>
                <a:blip r:embed="rId282"/>
                <a:stretch>
                  <a:fillRect/>
                </a:stretch>
              </p:blipFill>
              <p:spPr>
                <a:xfrm>
                  <a:off x="5261803" y="3478095"/>
                  <a:ext cx="177840" cy="29736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83">
            <p14:nvContentPartPr>
              <p14:cNvPr id="219" name="Freihand 218">
                <a:extLst>
                  <a:ext uri="{FF2B5EF4-FFF2-40B4-BE49-F238E27FC236}">
                    <a16:creationId xmlns:a16="http://schemas.microsoft.com/office/drawing/2014/main" id="{83245B3D-0880-0CD1-379D-89F1DF26C000}"/>
                  </a:ext>
                </a:extLst>
              </p14:cNvPr>
              <p14:cNvContentPartPr/>
              <p14:nvPr/>
            </p14:nvContentPartPr>
            <p14:xfrm>
              <a:off x="5567083" y="3065895"/>
              <a:ext cx="122760" cy="779400"/>
            </p14:xfrm>
          </p:contentPart>
        </mc:Choice>
        <mc:Fallback>
          <p:pic>
            <p:nvPicPr>
              <p:cNvPr id="219" name="Freihand 218">
                <a:extLst>
                  <a:ext uri="{FF2B5EF4-FFF2-40B4-BE49-F238E27FC236}">
                    <a16:creationId xmlns:a16="http://schemas.microsoft.com/office/drawing/2014/main" id="{83245B3D-0880-0CD1-379D-89F1DF26C000}"/>
                  </a:ext>
                </a:extLst>
              </p:cNvPr>
              <p:cNvPicPr/>
              <p:nvPr/>
            </p:nvPicPr>
            <p:blipFill>
              <a:blip r:embed="rId284"/>
              <a:stretch>
                <a:fillRect/>
              </a:stretch>
            </p:blipFill>
            <p:spPr>
              <a:xfrm>
                <a:off x="5549083" y="3047895"/>
                <a:ext cx="158400" cy="815040"/>
              </a:xfrm>
              <a:prstGeom prst="rect">
                <a:avLst/>
              </a:prstGeom>
            </p:spPr>
          </p:pic>
        </mc:Fallback>
      </mc:AlternateContent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7AB338A2-1C8C-FF79-E768-2B7E26536878}"/>
              </a:ext>
            </a:extLst>
          </p:cNvPr>
          <p:cNvGrpSpPr/>
          <p:nvPr/>
        </p:nvGrpSpPr>
        <p:grpSpPr>
          <a:xfrm>
            <a:off x="5979283" y="3305295"/>
            <a:ext cx="263520" cy="367200"/>
            <a:chOff x="5979283" y="3305295"/>
            <a:chExt cx="263520" cy="36720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85">
              <p14:nvContentPartPr>
                <p14:cNvPr id="220" name="Freihand 219">
                  <a:extLst>
                    <a:ext uri="{FF2B5EF4-FFF2-40B4-BE49-F238E27FC236}">
                      <a16:creationId xmlns:a16="http://schemas.microsoft.com/office/drawing/2014/main" id="{DF26FE37-400C-5CBF-849A-CB9026C80860}"/>
                    </a:ext>
                  </a:extLst>
                </p14:cNvPr>
                <p14:cNvContentPartPr/>
                <p14:nvPr/>
              </p14:nvContentPartPr>
              <p14:xfrm>
                <a:off x="5979283" y="3470895"/>
                <a:ext cx="263520" cy="21600"/>
              </p14:xfrm>
            </p:contentPart>
          </mc:Choice>
          <mc:Fallback>
            <p:pic>
              <p:nvPicPr>
                <p:cNvPr id="220" name="Freihand 219">
                  <a:extLst>
                    <a:ext uri="{FF2B5EF4-FFF2-40B4-BE49-F238E27FC236}">
                      <a16:creationId xmlns:a16="http://schemas.microsoft.com/office/drawing/2014/main" id="{DF26FE37-400C-5CBF-849A-CB9026C80860}"/>
                    </a:ext>
                  </a:extLst>
                </p:cNvPr>
                <p:cNvPicPr/>
                <p:nvPr/>
              </p:nvPicPr>
              <p:blipFill>
                <a:blip r:embed="rId286"/>
                <a:stretch>
                  <a:fillRect/>
                </a:stretch>
              </p:blipFill>
              <p:spPr>
                <a:xfrm>
                  <a:off x="5961283" y="3452895"/>
                  <a:ext cx="299160" cy="572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87">
              <p14:nvContentPartPr>
                <p14:cNvPr id="221" name="Freihand 220">
                  <a:extLst>
                    <a:ext uri="{FF2B5EF4-FFF2-40B4-BE49-F238E27FC236}">
                      <a16:creationId xmlns:a16="http://schemas.microsoft.com/office/drawing/2014/main" id="{9E3DE41E-0480-AAEE-F598-3EAA89AEFDE1}"/>
                    </a:ext>
                  </a:extLst>
                </p14:cNvPr>
                <p14:cNvContentPartPr/>
                <p14:nvPr/>
              </p14:nvContentPartPr>
              <p14:xfrm>
                <a:off x="6080443" y="3305295"/>
                <a:ext cx="20160" cy="367200"/>
              </p14:xfrm>
            </p:contentPart>
          </mc:Choice>
          <mc:Fallback>
            <p:pic>
              <p:nvPicPr>
                <p:cNvPr id="221" name="Freihand 220">
                  <a:extLst>
                    <a:ext uri="{FF2B5EF4-FFF2-40B4-BE49-F238E27FC236}">
                      <a16:creationId xmlns:a16="http://schemas.microsoft.com/office/drawing/2014/main" id="{9E3DE41E-0480-AAEE-F598-3EAA89AEFDE1}"/>
                    </a:ext>
                  </a:extLst>
                </p:cNvPr>
                <p:cNvPicPr/>
                <p:nvPr/>
              </p:nvPicPr>
              <p:blipFill>
                <a:blip r:embed="rId288"/>
                <a:stretch>
                  <a:fillRect/>
                </a:stretch>
              </p:blipFill>
              <p:spPr>
                <a:xfrm>
                  <a:off x="6062443" y="3287655"/>
                  <a:ext cx="55800" cy="40284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04" name="Gruppieren 303">
            <a:extLst>
              <a:ext uri="{FF2B5EF4-FFF2-40B4-BE49-F238E27FC236}">
                <a16:creationId xmlns:a16="http://schemas.microsoft.com/office/drawing/2014/main" id="{AF66329D-418E-93C0-4DB2-BFBB2A46DA3D}"/>
              </a:ext>
            </a:extLst>
          </p:cNvPr>
          <p:cNvGrpSpPr/>
          <p:nvPr/>
        </p:nvGrpSpPr>
        <p:grpSpPr>
          <a:xfrm>
            <a:off x="6473563" y="2737215"/>
            <a:ext cx="3800880" cy="1037520"/>
            <a:chOff x="6473563" y="2737215"/>
            <a:chExt cx="3800880" cy="10375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289">
              <p14:nvContentPartPr>
                <p14:cNvPr id="273" name="Freihand 272">
                  <a:extLst>
                    <a:ext uri="{FF2B5EF4-FFF2-40B4-BE49-F238E27FC236}">
                      <a16:creationId xmlns:a16="http://schemas.microsoft.com/office/drawing/2014/main" id="{FD87AB5A-DA70-EBF2-8CFE-581A41483F6A}"/>
                    </a:ext>
                  </a:extLst>
                </p14:cNvPr>
                <p14:cNvContentPartPr/>
                <p14:nvPr/>
              </p14:nvContentPartPr>
              <p14:xfrm>
                <a:off x="6575083" y="3139695"/>
                <a:ext cx="66600" cy="582840"/>
              </p14:xfrm>
            </p:contentPart>
          </mc:Choice>
          <mc:Fallback>
            <p:pic>
              <p:nvPicPr>
                <p:cNvPr id="273" name="Freihand 272">
                  <a:extLst>
                    <a:ext uri="{FF2B5EF4-FFF2-40B4-BE49-F238E27FC236}">
                      <a16:creationId xmlns:a16="http://schemas.microsoft.com/office/drawing/2014/main" id="{FD87AB5A-DA70-EBF2-8CFE-581A41483F6A}"/>
                    </a:ext>
                  </a:extLst>
                </p:cNvPr>
                <p:cNvPicPr/>
                <p:nvPr/>
              </p:nvPicPr>
              <p:blipFill>
                <a:blip r:embed="rId290"/>
                <a:stretch>
                  <a:fillRect/>
                </a:stretch>
              </p:blipFill>
              <p:spPr>
                <a:xfrm>
                  <a:off x="6557083" y="3122055"/>
                  <a:ext cx="102240" cy="61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1">
              <p14:nvContentPartPr>
                <p14:cNvPr id="274" name="Freihand 273">
                  <a:extLst>
                    <a:ext uri="{FF2B5EF4-FFF2-40B4-BE49-F238E27FC236}">
                      <a16:creationId xmlns:a16="http://schemas.microsoft.com/office/drawing/2014/main" id="{6F14F677-AD65-4506-41E6-27A0BC5B653B}"/>
                    </a:ext>
                  </a:extLst>
                </p14:cNvPr>
                <p14:cNvContentPartPr/>
                <p14:nvPr/>
              </p14:nvContentPartPr>
              <p14:xfrm>
                <a:off x="6473563" y="3327975"/>
                <a:ext cx="339480" cy="110880"/>
              </p14:xfrm>
            </p:contentPart>
          </mc:Choice>
          <mc:Fallback>
            <p:pic>
              <p:nvPicPr>
                <p:cNvPr id="274" name="Freihand 273">
                  <a:extLst>
                    <a:ext uri="{FF2B5EF4-FFF2-40B4-BE49-F238E27FC236}">
                      <a16:creationId xmlns:a16="http://schemas.microsoft.com/office/drawing/2014/main" id="{6F14F677-AD65-4506-41E6-27A0BC5B653B}"/>
                    </a:ext>
                  </a:extLst>
                </p:cNvPr>
                <p:cNvPicPr/>
                <p:nvPr/>
              </p:nvPicPr>
              <p:blipFill>
                <a:blip r:embed="rId292"/>
                <a:stretch>
                  <a:fillRect/>
                </a:stretch>
              </p:blipFill>
              <p:spPr>
                <a:xfrm>
                  <a:off x="6455563" y="3309975"/>
                  <a:ext cx="375120" cy="146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3">
              <p14:nvContentPartPr>
                <p14:cNvPr id="276" name="Freihand 275">
                  <a:extLst>
                    <a:ext uri="{FF2B5EF4-FFF2-40B4-BE49-F238E27FC236}">
                      <a16:creationId xmlns:a16="http://schemas.microsoft.com/office/drawing/2014/main" id="{9D76BFFD-D782-387D-E416-B543BA062FE1}"/>
                    </a:ext>
                  </a:extLst>
                </p14:cNvPr>
                <p14:cNvContentPartPr/>
                <p14:nvPr/>
              </p14:nvContentPartPr>
              <p14:xfrm>
                <a:off x="6830683" y="3510495"/>
                <a:ext cx="28800" cy="37800"/>
              </p14:xfrm>
            </p:contentPart>
          </mc:Choice>
          <mc:Fallback>
            <p:pic>
              <p:nvPicPr>
                <p:cNvPr id="276" name="Freihand 275">
                  <a:extLst>
                    <a:ext uri="{FF2B5EF4-FFF2-40B4-BE49-F238E27FC236}">
                      <a16:creationId xmlns:a16="http://schemas.microsoft.com/office/drawing/2014/main" id="{9D76BFFD-D782-387D-E416-B543BA062FE1}"/>
                    </a:ext>
                  </a:extLst>
                </p:cNvPr>
                <p:cNvPicPr/>
                <p:nvPr/>
              </p:nvPicPr>
              <p:blipFill>
                <a:blip r:embed="rId294"/>
                <a:stretch>
                  <a:fillRect/>
                </a:stretch>
              </p:blipFill>
              <p:spPr>
                <a:xfrm>
                  <a:off x="6813043" y="3492495"/>
                  <a:ext cx="64440" cy="73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5">
              <p14:nvContentPartPr>
                <p14:cNvPr id="278" name="Freihand 277">
                  <a:extLst>
                    <a:ext uri="{FF2B5EF4-FFF2-40B4-BE49-F238E27FC236}">
                      <a16:creationId xmlns:a16="http://schemas.microsoft.com/office/drawing/2014/main" id="{C1BAFC29-DF2A-BC3E-428E-D5E9EDBD967C}"/>
                    </a:ext>
                  </a:extLst>
                </p14:cNvPr>
                <p14:cNvContentPartPr/>
                <p14:nvPr/>
              </p14:nvContentPartPr>
              <p14:xfrm>
                <a:off x="7011403" y="3010815"/>
                <a:ext cx="267480" cy="763920"/>
              </p14:xfrm>
            </p:contentPart>
          </mc:Choice>
          <mc:Fallback>
            <p:pic>
              <p:nvPicPr>
                <p:cNvPr id="278" name="Freihand 277">
                  <a:extLst>
                    <a:ext uri="{FF2B5EF4-FFF2-40B4-BE49-F238E27FC236}">
                      <a16:creationId xmlns:a16="http://schemas.microsoft.com/office/drawing/2014/main" id="{C1BAFC29-DF2A-BC3E-428E-D5E9EDBD967C}"/>
                    </a:ext>
                  </a:extLst>
                </p:cNvPr>
                <p:cNvPicPr/>
                <p:nvPr/>
              </p:nvPicPr>
              <p:blipFill>
                <a:blip r:embed="rId296"/>
                <a:stretch>
                  <a:fillRect/>
                </a:stretch>
              </p:blipFill>
              <p:spPr>
                <a:xfrm>
                  <a:off x="6993763" y="2992815"/>
                  <a:ext cx="303120" cy="799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7">
              <p14:nvContentPartPr>
                <p14:cNvPr id="279" name="Freihand 278">
                  <a:extLst>
                    <a:ext uri="{FF2B5EF4-FFF2-40B4-BE49-F238E27FC236}">
                      <a16:creationId xmlns:a16="http://schemas.microsoft.com/office/drawing/2014/main" id="{283602B3-F300-0D2E-7C39-51491BCB623B}"/>
                    </a:ext>
                  </a:extLst>
                </p14:cNvPr>
                <p14:cNvContentPartPr/>
                <p14:nvPr/>
              </p14:nvContentPartPr>
              <p14:xfrm>
                <a:off x="7387243" y="3258855"/>
                <a:ext cx="138960" cy="262440"/>
              </p14:xfrm>
            </p:contentPart>
          </mc:Choice>
          <mc:Fallback>
            <p:pic>
              <p:nvPicPr>
                <p:cNvPr id="279" name="Freihand 278">
                  <a:extLst>
                    <a:ext uri="{FF2B5EF4-FFF2-40B4-BE49-F238E27FC236}">
                      <a16:creationId xmlns:a16="http://schemas.microsoft.com/office/drawing/2014/main" id="{283602B3-F300-0D2E-7C39-51491BCB623B}"/>
                    </a:ext>
                  </a:extLst>
                </p:cNvPr>
                <p:cNvPicPr/>
                <p:nvPr/>
              </p:nvPicPr>
              <p:blipFill>
                <a:blip r:embed="rId298"/>
                <a:stretch>
                  <a:fillRect/>
                </a:stretch>
              </p:blipFill>
              <p:spPr>
                <a:xfrm>
                  <a:off x="7369603" y="3240855"/>
                  <a:ext cx="174600" cy="298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299">
              <p14:nvContentPartPr>
                <p14:cNvPr id="280" name="Freihand 279">
                  <a:extLst>
                    <a:ext uri="{FF2B5EF4-FFF2-40B4-BE49-F238E27FC236}">
                      <a16:creationId xmlns:a16="http://schemas.microsoft.com/office/drawing/2014/main" id="{A4B4E58F-3EB1-8030-78AD-AB0C9BA53FF6}"/>
                    </a:ext>
                  </a:extLst>
                </p14:cNvPr>
                <p14:cNvContentPartPr/>
                <p14:nvPr/>
              </p14:nvContentPartPr>
              <p14:xfrm>
                <a:off x="7585243" y="3357495"/>
                <a:ext cx="111960" cy="29880"/>
              </p14:xfrm>
            </p:contentPart>
          </mc:Choice>
          <mc:Fallback>
            <p:pic>
              <p:nvPicPr>
                <p:cNvPr id="280" name="Freihand 279">
                  <a:extLst>
                    <a:ext uri="{FF2B5EF4-FFF2-40B4-BE49-F238E27FC236}">
                      <a16:creationId xmlns:a16="http://schemas.microsoft.com/office/drawing/2014/main" id="{A4B4E58F-3EB1-8030-78AD-AB0C9BA53FF6}"/>
                    </a:ext>
                  </a:extLst>
                </p:cNvPr>
                <p:cNvPicPr/>
                <p:nvPr/>
              </p:nvPicPr>
              <p:blipFill>
                <a:blip r:embed="rId300"/>
                <a:stretch>
                  <a:fillRect/>
                </a:stretch>
              </p:blipFill>
              <p:spPr>
                <a:xfrm>
                  <a:off x="7567603" y="3339495"/>
                  <a:ext cx="147600" cy="6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1">
              <p14:nvContentPartPr>
                <p14:cNvPr id="281" name="Freihand 280">
                  <a:extLst>
                    <a:ext uri="{FF2B5EF4-FFF2-40B4-BE49-F238E27FC236}">
                      <a16:creationId xmlns:a16="http://schemas.microsoft.com/office/drawing/2014/main" id="{18A75C89-5C0D-9927-8849-DC7471F61C0B}"/>
                    </a:ext>
                  </a:extLst>
                </p14:cNvPr>
                <p14:cNvContentPartPr/>
                <p14:nvPr/>
              </p14:nvContentPartPr>
              <p14:xfrm>
                <a:off x="7875763" y="3134655"/>
                <a:ext cx="43920" cy="307440"/>
              </p14:xfrm>
            </p:contentPart>
          </mc:Choice>
          <mc:Fallback>
            <p:pic>
              <p:nvPicPr>
                <p:cNvPr id="281" name="Freihand 280">
                  <a:extLst>
                    <a:ext uri="{FF2B5EF4-FFF2-40B4-BE49-F238E27FC236}">
                      <a16:creationId xmlns:a16="http://schemas.microsoft.com/office/drawing/2014/main" id="{18A75C89-5C0D-9927-8849-DC7471F61C0B}"/>
                    </a:ext>
                  </a:extLst>
                </p:cNvPr>
                <p:cNvPicPr/>
                <p:nvPr/>
              </p:nvPicPr>
              <p:blipFill>
                <a:blip r:embed="rId302"/>
                <a:stretch>
                  <a:fillRect/>
                </a:stretch>
              </p:blipFill>
              <p:spPr>
                <a:xfrm>
                  <a:off x="7857763" y="3117015"/>
                  <a:ext cx="79560" cy="343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3">
              <p14:nvContentPartPr>
                <p14:cNvPr id="282" name="Freihand 281">
                  <a:extLst>
                    <a:ext uri="{FF2B5EF4-FFF2-40B4-BE49-F238E27FC236}">
                      <a16:creationId xmlns:a16="http://schemas.microsoft.com/office/drawing/2014/main" id="{AB44D4C6-EEF7-C362-9B47-3D590B0105A1}"/>
                    </a:ext>
                  </a:extLst>
                </p14:cNvPr>
                <p14:cNvContentPartPr/>
                <p14:nvPr/>
              </p14:nvContentPartPr>
              <p14:xfrm>
                <a:off x="7797283" y="3234735"/>
                <a:ext cx="180360" cy="64440"/>
              </p14:xfrm>
            </p:contentPart>
          </mc:Choice>
          <mc:Fallback>
            <p:pic>
              <p:nvPicPr>
                <p:cNvPr id="282" name="Freihand 281">
                  <a:extLst>
                    <a:ext uri="{FF2B5EF4-FFF2-40B4-BE49-F238E27FC236}">
                      <a16:creationId xmlns:a16="http://schemas.microsoft.com/office/drawing/2014/main" id="{AB44D4C6-EEF7-C362-9B47-3D590B0105A1}"/>
                    </a:ext>
                  </a:extLst>
                </p:cNvPr>
                <p:cNvPicPr/>
                <p:nvPr/>
              </p:nvPicPr>
              <p:blipFill>
                <a:blip r:embed="rId304"/>
                <a:stretch>
                  <a:fillRect/>
                </a:stretch>
              </p:blipFill>
              <p:spPr>
                <a:xfrm>
                  <a:off x="7779643" y="3217095"/>
                  <a:ext cx="216000" cy="100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5">
              <p14:nvContentPartPr>
                <p14:cNvPr id="283" name="Freihand 282">
                  <a:extLst>
                    <a:ext uri="{FF2B5EF4-FFF2-40B4-BE49-F238E27FC236}">
                      <a16:creationId xmlns:a16="http://schemas.microsoft.com/office/drawing/2014/main" id="{0AC03295-EF21-8893-F338-B4233F671B97}"/>
                    </a:ext>
                  </a:extLst>
                </p14:cNvPr>
                <p14:cNvContentPartPr/>
                <p14:nvPr/>
              </p14:nvContentPartPr>
              <p14:xfrm>
                <a:off x="7960003" y="3339855"/>
                <a:ext cx="109800" cy="160560"/>
              </p14:xfrm>
            </p:contentPart>
          </mc:Choice>
          <mc:Fallback>
            <p:pic>
              <p:nvPicPr>
                <p:cNvPr id="283" name="Freihand 282">
                  <a:extLst>
                    <a:ext uri="{FF2B5EF4-FFF2-40B4-BE49-F238E27FC236}">
                      <a16:creationId xmlns:a16="http://schemas.microsoft.com/office/drawing/2014/main" id="{0AC03295-EF21-8893-F338-B4233F671B97}"/>
                    </a:ext>
                  </a:extLst>
                </p:cNvPr>
                <p:cNvPicPr/>
                <p:nvPr/>
              </p:nvPicPr>
              <p:blipFill>
                <a:blip r:embed="rId306"/>
                <a:stretch>
                  <a:fillRect/>
                </a:stretch>
              </p:blipFill>
              <p:spPr>
                <a:xfrm>
                  <a:off x="7942003" y="3321855"/>
                  <a:ext cx="145440" cy="196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7">
              <p14:nvContentPartPr>
                <p14:cNvPr id="284" name="Freihand 283">
                  <a:extLst>
                    <a:ext uri="{FF2B5EF4-FFF2-40B4-BE49-F238E27FC236}">
                      <a16:creationId xmlns:a16="http://schemas.microsoft.com/office/drawing/2014/main" id="{6FA672B4-0E25-F4A4-DF70-47533C32E537}"/>
                    </a:ext>
                  </a:extLst>
                </p14:cNvPr>
                <p14:cNvContentPartPr/>
                <p14:nvPr/>
              </p14:nvContentPartPr>
              <p14:xfrm>
                <a:off x="7267003" y="3056535"/>
                <a:ext cx="198720" cy="562320"/>
              </p14:xfrm>
            </p:contentPart>
          </mc:Choice>
          <mc:Fallback>
            <p:pic>
              <p:nvPicPr>
                <p:cNvPr id="284" name="Freihand 283">
                  <a:extLst>
                    <a:ext uri="{FF2B5EF4-FFF2-40B4-BE49-F238E27FC236}">
                      <a16:creationId xmlns:a16="http://schemas.microsoft.com/office/drawing/2014/main" id="{6FA672B4-0E25-F4A4-DF70-47533C32E537}"/>
                    </a:ext>
                  </a:extLst>
                </p:cNvPr>
                <p:cNvPicPr/>
                <p:nvPr/>
              </p:nvPicPr>
              <p:blipFill>
                <a:blip r:embed="rId308"/>
                <a:stretch>
                  <a:fillRect/>
                </a:stretch>
              </p:blipFill>
              <p:spPr>
                <a:xfrm>
                  <a:off x="7249003" y="3038895"/>
                  <a:ext cx="234360" cy="5979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09">
              <p14:nvContentPartPr>
                <p14:cNvPr id="286" name="Freihand 285">
                  <a:extLst>
                    <a:ext uri="{FF2B5EF4-FFF2-40B4-BE49-F238E27FC236}">
                      <a16:creationId xmlns:a16="http://schemas.microsoft.com/office/drawing/2014/main" id="{B8991679-A047-76DF-B19A-3FC63E69F44E}"/>
                    </a:ext>
                  </a:extLst>
                </p14:cNvPr>
                <p14:cNvContentPartPr/>
                <p14:nvPr/>
              </p14:nvContentPartPr>
              <p14:xfrm>
                <a:off x="8007883" y="3082455"/>
                <a:ext cx="143640" cy="511920"/>
              </p14:xfrm>
            </p:contentPart>
          </mc:Choice>
          <mc:Fallback>
            <p:pic>
              <p:nvPicPr>
                <p:cNvPr id="286" name="Freihand 285">
                  <a:extLst>
                    <a:ext uri="{FF2B5EF4-FFF2-40B4-BE49-F238E27FC236}">
                      <a16:creationId xmlns:a16="http://schemas.microsoft.com/office/drawing/2014/main" id="{B8991679-A047-76DF-B19A-3FC63E69F44E}"/>
                    </a:ext>
                  </a:extLst>
                </p:cNvPr>
                <p:cNvPicPr/>
                <p:nvPr/>
              </p:nvPicPr>
              <p:blipFill>
                <a:blip r:embed="rId310"/>
                <a:stretch>
                  <a:fillRect/>
                </a:stretch>
              </p:blipFill>
              <p:spPr>
                <a:xfrm>
                  <a:off x="7989883" y="3064455"/>
                  <a:ext cx="179280" cy="547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1">
              <p14:nvContentPartPr>
                <p14:cNvPr id="288" name="Freihand 287">
                  <a:extLst>
                    <a:ext uri="{FF2B5EF4-FFF2-40B4-BE49-F238E27FC236}">
                      <a16:creationId xmlns:a16="http://schemas.microsoft.com/office/drawing/2014/main" id="{F6058B07-866B-1E5B-DA45-BDA460167C93}"/>
                    </a:ext>
                  </a:extLst>
                </p14:cNvPr>
                <p14:cNvContentPartPr/>
                <p14:nvPr/>
              </p14:nvContentPartPr>
              <p14:xfrm>
                <a:off x="8218483" y="3349215"/>
                <a:ext cx="19440" cy="48960"/>
              </p14:xfrm>
            </p:contentPart>
          </mc:Choice>
          <mc:Fallback>
            <p:pic>
              <p:nvPicPr>
                <p:cNvPr id="288" name="Freihand 287">
                  <a:extLst>
                    <a:ext uri="{FF2B5EF4-FFF2-40B4-BE49-F238E27FC236}">
                      <a16:creationId xmlns:a16="http://schemas.microsoft.com/office/drawing/2014/main" id="{F6058B07-866B-1E5B-DA45-BDA460167C93}"/>
                    </a:ext>
                  </a:extLst>
                </p:cNvPr>
                <p:cNvPicPr/>
                <p:nvPr/>
              </p:nvPicPr>
              <p:blipFill>
                <a:blip r:embed="rId312"/>
                <a:stretch>
                  <a:fillRect/>
                </a:stretch>
              </p:blipFill>
              <p:spPr>
                <a:xfrm>
                  <a:off x="8200483" y="3331575"/>
                  <a:ext cx="55080" cy="84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3">
              <p14:nvContentPartPr>
                <p14:cNvPr id="289" name="Freihand 288">
                  <a:extLst>
                    <a:ext uri="{FF2B5EF4-FFF2-40B4-BE49-F238E27FC236}">
                      <a16:creationId xmlns:a16="http://schemas.microsoft.com/office/drawing/2014/main" id="{2FDF560E-DB60-4AA3-695F-B9F4EB696280}"/>
                    </a:ext>
                  </a:extLst>
                </p14:cNvPr>
                <p14:cNvContentPartPr/>
                <p14:nvPr/>
              </p14:nvContentPartPr>
              <p14:xfrm>
                <a:off x="8335843" y="3226455"/>
                <a:ext cx="123480" cy="261720"/>
              </p14:xfrm>
            </p:contentPart>
          </mc:Choice>
          <mc:Fallback>
            <p:pic>
              <p:nvPicPr>
                <p:cNvPr id="289" name="Freihand 288">
                  <a:extLst>
                    <a:ext uri="{FF2B5EF4-FFF2-40B4-BE49-F238E27FC236}">
                      <a16:creationId xmlns:a16="http://schemas.microsoft.com/office/drawing/2014/main" id="{2FDF560E-DB60-4AA3-695F-B9F4EB696280}"/>
                    </a:ext>
                  </a:extLst>
                </p:cNvPr>
                <p:cNvPicPr/>
                <p:nvPr/>
              </p:nvPicPr>
              <p:blipFill>
                <a:blip r:embed="rId314"/>
                <a:stretch>
                  <a:fillRect/>
                </a:stretch>
              </p:blipFill>
              <p:spPr>
                <a:xfrm>
                  <a:off x="8318203" y="3208815"/>
                  <a:ext cx="159120" cy="29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5">
              <p14:nvContentPartPr>
                <p14:cNvPr id="291" name="Freihand 290">
                  <a:extLst>
                    <a:ext uri="{FF2B5EF4-FFF2-40B4-BE49-F238E27FC236}">
                      <a16:creationId xmlns:a16="http://schemas.microsoft.com/office/drawing/2014/main" id="{B46C2EC0-45CC-7442-F3AB-7959F91A178F}"/>
                    </a:ext>
                  </a:extLst>
                </p14:cNvPr>
                <p14:cNvContentPartPr/>
                <p14:nvPr/>
              </p14:nvContentPartPr>
              <p14:xfrm>
                <a:off x="8512603" y="3381255"/>
                <a:ext cx="107280" cy="180000"/>
              </p14:xfrm>
            </p:contentPart>
          </mc:Choice>
          <mc:Fallback>
            <p:pic>
              <p:nvPicPr>
                <p:cNvPr id="291" name="Freihand 290">
                  <a:extLst>
                    <a:ext uri="{FF2B5EF4-FFF2-40B4-BE49-F238E27FC236}">
                      <a16:creationId xmlns:a16="http://schemas.microsoft.com/office/drawing/2014/main" id="{B46C2EC0-45CC-7442-F3AB-7959F91A178F}"/>
                    </a:ext>
                  </a:extLst>
                </p:cNvPr>
                <p:cNvPicPr/>
                <p:nvPr/>
              </p:nvPicPr>
              <p:blipFill>
                <a:blip r:embed="rId316"/>
                <a:stretch>
                  <a:fillRect/>
                </a:stretch>
              </p:blipFill>
              <p:spPr>
                <a:xfrm>
                  <a:off x="8494963" y="3363615"/>
                  <a:ext cx="142920" cy="2156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7">
              <p14:nvContentPartPr>
                <p14:cNvPr id="293" name="Freihand 292">
                  <a:extLst>
                    <a:ext uri="{FF2B5EF4-FFF2-40B4-BE49-F238E27FC236}">
                      <a16:creationId xmlns:a16="http://schemas.microsoft.com/office/drawing/2014/main" id="{B16520EB-E99C-9CA0-A04A-983EA3BF868E}"/>
                    </a:ext>
                  </a:extLst>
                </p14:cNvPr>
                <p14:cNvContentPartPr/>
                <p14:nvPr/>
              </p14:nvContentPartPr>
              <p14:xfrm>
                <a:off x="8799523" y="3275775"/>
                <a:ext cx="274320" cy="42480"/>
              </p14:xfrm>
            </p:contentPart>
          </mc:Choice>
          <mc:Fallback>
            <p:pic>
              <p:nvPicPr>
                <p:cNvPr id="293" name="Freihand 292">
                  <a:extLst>
                    <a:ext uri="{FF2B5EF4-FFF2-40B4-BE49-F238E27FC236}">
                      <a16:creationId xmlns:a16="http://schemas.microsoft.com/office/drawing/2014/main" id="{B16520EB-E99C-9CA0-A04A-983EA3BF868E}"/>
                    </a:ext>
                  </a:extLst>
                </p:cNvPr>
                <p:cNvPicPr/>
                <p:nvPr/>
              </p:nvPicPr>
              <p:blipFill>
                <a:blip r:embed="rId318"/>
                <a:stretch>
                  <a:fillRect/>
                </a:stretch>
              </p:blipFill>
              <p:spPr>
                <a:xfrm>
                  <a:off x="8781523" y="3258135"/>
                  <a:ext cx="309960" cy="78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19">
              <p14:nvContentPartPr>
                <p14:cNvPr id="294" name="Freihand 293">
                  <a:extLst>
                    <a:ext uri="{FF2B5EF4-FFF2-40B4-BE49-F238E27FC236}">
                      <a16:creationId xmlns:a16="http://schemas.microsoft.com/office/drawing/2014/main" id="{AE6DAA12-C5FE-A818-9137-188C96282090}"/>
                    </a:ext>
                  </a:extLst>
                </p14:cNvPr>
                <p14:cNvContentPartPr/>
                <p14:nvPr/>
              </p14:nvContentPartPr>
              <p14:xfrm>
                <a:off x="8916883" y="3142215"/>
                <a:ext cx="27360" cy="312840"/>
              </p14:xfrm>
            </p:contentPart>
          </mc:Choice>
          <mc:Fallback>
            <p:pic>
              <p:nvPicPr>
                <p:cNvPr id="294" name="Freihand 293">
                  <a:extLst>
                    <a:ext uri="{FF2B5EF4-FFF2-40B4-BE49-F238E27FC236}">
                      <a16:creationId xmlns:a16="http://schemas.microsoft.com/office/drawing/2014/main" id="{AE6DAA12-C5FE-A818-9137-188C96282090}"/>
                    </a:ext>
                  </a:extLst>
                </p:cNvPr>
                <p:cNvPicPr/>
                <p:nvPr/>
              </p:nvPicPr>
              <p:blipFill>
                <a:blip r:embed="rId320"/>
                <a:stretch>
                  <a:fillRect/>
                </a:stretch>
              </p:blipFill>
              <p:spPr>
                <a:xfrm>
                  <a:off x="8898883" y="3124575"/>
                  <a:ext cx="63000" cy="3484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1">
              <p14:nvContentPartPr>
                <p14:cNvPr id="296" name="Freihand 295">
                  <a:extLst>
                    <a:ext uri="{FF2B5EF4-FFF2-40B4-BE49-F238E27FC236}">
                      <a16:creationId xmlns:a16="http://schemas.microsoft.com/office/drawing/2014/main" id="{7EC01024-C066-ACB0-D9CF-33C9F4621A04}"/>
                    </a:ext>
                  </a:extLst>
                </p14:cNvPr>
                <p14:cNvContentPartPr/>
                <p14:nvPr/>
              </p14:nvContentPartPr>
              <p14:xfrm>
                <a:off x="9285523" y="3024135"/>
                <a:ext cx="144360" cy="336960"/>
              </p14:xfrm>
            </p:contentPart>
          </mc:Choice>
          <mc:Fallback>
            <p:pic>
              <p:nvPicPr>
                <p:cNvPr id="296" name="Freihand 295">
                  <a:extLst>
                    <a:ext uri="{FF2B5EF4-FFF2-40B4-BE49-F238E27FC236}">
                      <a16:creationId xmlns:a16="http://schemas.microsoft.com/office/drawing/2014/main" id="{7EC01024-C066-ACB0-D9CF-33C9F4621A04}"/>
                    </a:ext>
                  </a:extLst>
                </p:cNvPr>
                <p:cNvPicPr/>
                <p:nvPr/>
              </p:nvPicPr>
              <p:blipFill>
                <a:blip r:embed="rId322"/>
                <a:stretch>
                  <a:fillRect/>
                </a:stretch>
              </p:blipFill>
              <p:spPr>
                <a:xfrm>
                  <a:off x="9267523" y="3006495"/>
                  <a:ext cx="180000" cy="3726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3">
              <p14:nvContentPartPr>
                <p14:cNvPr id="297" name="Freihand 296">
                  <a:extLst>
                    <a:ext uri="{FF2B5EF4-FFF2-40B4-BE49-F238E27FC236}">
                      <a16:creationId xmlns:a16="http://schemas.microsoft.com/office/drawing/2014/main" id="{CE5BF4A1-DD78-FAF5-346B-FE7AC179BE22}"/>
                    </a:ext>
                  </a:extLst>
                </p14:cNvPr>
                <p14:cNvContentPartPr/>
                <p14:nvPr/>
              </p14:nvContentPartPr>
              <p14:xfrm>
                <a:off x="9480283" y="3177855"/>
                <a:ext cx="109440" cy="271440"/>
              </p14:xfrm>
            </p:contentPart>
          </mc:Choice>
          <mc:Fallback>
            <p:pic>
              <p:nvPicPr>
                <p:cNvPr id="297" name="Freihand 296">
                  <a:extLst>
                    <a:ext uri="{FF2B5EF4-FFF2-40B4-BE49-F238E27FC236}">
                      <a16:creationId xmlns:a16="http://schemas.microsoft.com/office/drawing/2014/main" id="{CE5BF4A1-DD78-FAF5-346B-FE7AC179BE22}"/>
                    </a:ext>
                  </a:extLst>
                </p:cNvPr>
                <p:cNvPicPr/>
                <p:nvPr/>
              </p:nvPicPr>
              <p:blipFill>
                <a:blip r:embed="rId324"/>
                <a:stretch>
                  <a:fillRect/>
                </a:stretch>
              </p:blipFill>
              <p:spPr>
                <a:xfrm>
                  <a:off x="9462643" y="3159855"/>
                  <a:ext cx="145080" cy="307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5">
              <p14:nvContentPartPr>
                <p14:cNvPr id="298" name="Freihand 297">
                  <a:extLst>
                    <a:ext uri="{FF2B5EF4-FFF2-40B4-BE49-F238E27FC236}">
                      <a16:creationId xmlns:a16="http://schemas.microsoft.com/office/drawing/2014/main" id="{0544C561-1B4C-B86D-216A-667E9146E56B}"/>
                    </a:ext>
                  </a:extLst>
                </p14:cNvPr>
                <p14:cNvContentPartPr/>
                <p14:nvPr/>
              </p14:nvContentPartPr>
              <p14:xfrm>
                <a:off x="9680443" y="3186855"/>
                <a:ext cx="60840" cy="71640"/>
              </p14:xfrm>
            </p:contentPart>
          </mc:Choice>
          <mc:Fallback>
            <p:pic>
              <p:nvPicPr>
                <p:cNvPr id="298" name="Freihand 297">
                  <a:extLst>
                    <a:ext uri="{FF2B5EF4-FFF2-40B4-BE49-F238E27FC236}">
                      <a16:creationId xmlns:a16="http://schemas.microsoft.com/office/drawing/2014/main" id="{0544C561-1B4C-B86D-216A-667E9146E56B}"/>
                    </a:ext>
                  </a:extLst>
                </p:cNvPr>
                <p:cNvPicPr/>
                <p:nvPr/>
              </p:nvPicPr>
              <p:blipFill>
                <a:blip r:embed="rId326"/>
                <a:stretch>
                  <a:fillRect/>
                </a:stretch>
              </p:blipFill>
              <p:spPr>
                <a:xfrm>
                  <a:off x="9662803" y="3169215"/>
                  <a:ext cx="96480" cy="107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7">
              <p14:nvContentPartPr>
                <p14:cNvPr id="299" name="Freihand 298">
                  <a:extLst>
                    <a:ext uri="{FF2B5EF4-FFF2-40B4-BE49-F238E27FC236}">
                      <a16:creationId xmlns:a16="http://schemas.microsoft.com/office/drawing/2014/main" id="{91E5C18E-CCF7-F0E9-0333-681DABB448B6}"/>
                    </a:ext>
                  </a:extLst>
                </p14:cNvPr>
                <p14:cNvContentPartPr/>
                <p14:nvPr/>
              </p14:nvContentPartPr>
              <p14:xfrm>
                <a:off x="9862963" y="3016935"/>
                <a:ext cx="77400" cy="298080"/>
              </p14:xfrm>
            </p:contentPart>
          </mc:Choice>
          <mc:Fallback>
            <p:pic>
              <p:nvPicPr>
                <p:cNvPr id="299" name="Freihand 298">
                  <a:extLst>
                    <a:ext uri="{FF2B5EF4-FFF2-40B4-BE49-F238E27FC236}">
                      <a16:creationId xmlns:a16="http://schemas.microsoft.com/office/drawing/2014/main" id="{91E5C18E-CCF7-F0E9-0333-681DABB448B6}"/>
                    </a:ext>
                  </a:extLst>
                </p:cNvPr>
                <p:cNvPicPr/>
                <p:nvPr/>
              </p:nvPicPr>
              <p:blipFill>
                <a:blip r:embed="rId328"/>
                <a:stretch>
                  <a:fillRect/>
                </a:stretch>
              </p:blipFill>
              <p:spPr>
                <a:xfrm>
                  <a:off x="9844963" y="2998935"/>
                  <a:ext cx="113040" cy="3337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29">
              <p14:nvContentPartPr>
                <p14:cNvPr id="300" name="Freihand 299">
                  <a:extLst>
                    <a:ext uri="{FF2B5EF4-FFF2-40B4-BE49-F238E27FC236}">
                      <a16:creationId xmlns:a16="http://schemas.microsoft.com/office/drawing/2014/main" id="{EDF35658-38E4-2A6F-96FA-A400D011694B}"/>
                    </a:ext>
                  </a:extLst>
                </p14:cNvPr>
                <p14:cNvContentPartPr/>
                <p14:nvPr/>
              </p14:nvContentPartPr>
              <p14:xfrm>
                <a:off x="9796003" y="3133575"/>
                <a:ext cx="158760" cy="36360"/>
              </p14:xfrm>
            </p:contentPart>
          </mc:Choice>
          <mc:Fallback>
            <p:pic>
              <p:nvPicPr>
                <p:cNvPr id="300" name="Freihand 299">
                  <a:extLst>
                    <a:ext uri="{FF2B5EF4-FFF2-40B4-BE49-F238E27FC236}">
                      <a16:creationId xmlns:a16="http://schemas.microsoft.com/office/drawing/2014/main" id="{EDF35658-38E4-2A6F-96FA-A400D011694B}"/>
                    </a:ext>
                  </a:extLst>
                </p:cNvPr>
                <p:cNvPicPr/>
                <p:nvPr/>
              </p:nvPicPr>
              <p:blipFill>
                <a:blip r:embed="rId330"/>
                <a:stretch>
                  <a:fillRect/>
                </a:stretch>
              </p:blipFill>
              <p:spPr>
                <a:xfrm>
                  <a:off x="9778363" y="3115575"/>
                  <a:ext cx="194400" cy="72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1">
              <p14:nvContentPartPr>
                <p14:cNvPr id="301" name="Freihand 300">
                  <a:extLst>
                    <a:ext uri="{FF2B5EF4-FFF2-40B4-BE49-F238E27FC236}">
                      <a16:creationId xmlns:a16="http://schemas.microsoft.com/office/drawing/2014/main" id="{92D05FC2-B336-DEF5-43E6-03368F7D832A}"/>
                    </a:ext>
                  </a:extLst>
                </p14:cNvPr>
                <p14:cNvContentPartPr/>
                <p14:nvPr/>
              </p14:nvContentPartPr>
              <p14:xfrm>
                <a:off x="9918403" y="3220335"/>
                <a:ext cx="136800" cy="168120"/>
              </p14:xfrm>
            </p:contentPart>
          </mc:Choice>
          <mc:Fallback>
            <p:pic>
              <p:nvPicPr>
                <p:cNvPr id="301" name="Freihand 300">
                  <a:extLst>
                    <a:ext uri="{FF2B5EF4-FFF2-40B4-BE49-F238E27FC236}">
                      <a16:creationId xmlns:a16="http://schemas.microsoft.com/office/drawing/2014/main" id="{92D05FC2-B336-DEF5-43E6-03368F7D832A}"/>
                    </a:ext>
                  </a:extLst>
                </p:cNvPr>
                <p:cNvPicPr/>
                <p:nvPr/>
              </p:nvPicPr>
              <p:blipFill>
                <a:blip r:embed="rId332"/>
                <a:stretch>
                  <a:fillRect/>
                </a:stretch>
              </p:blipFill>
              <p:spPr>
                <a:xfrm>
                  <a:off x="9900763" y="3202335"/>
                  <a:ext cx="172440" cy="2037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3">
              <p14:nvContentPartPr>
                <p14:cNvPr id="303" name="Freihand 302">
                  <a:extLst>
                    <a:ext uri="{FF2B5EF4-FFF2-40B4-BE49-F238E27FC236}">
                      <a16:creationId xmlns:a16="http://schemas.microsoft.com/office/drawing/2014/main" id="{8D04D8CA-48E7-6EC1-8653-B209169BB4BA}"/>
                    </a:ext>
                  </a:extLst>
                </p14:cNvPr>
                <p14:cNvContentPartPr/>
                <p14:nvPr/>
              </p14:nvContentPartPr>
              <p14:xfrm>
                <a:off x="10091923" y="2737215"/>
                <a:ext cx="182520" cy="759960"/>
              </p14:xfrm>
            </p:contentPart>
          </mc:Choice>
          <mc:Fallback>
            <p:pic>
              <p:nvPicPr>
                <p:cNvPr id="303" name="Freihand 302">
                  <a:extLst>
                    <a:ext uri="{FF2B5EF4-FFF2-40B4-BE49-F238E27FC236}">
                      <a16:creationId xmlns:a16="http://schemas.microsoft.com/office/drawing/2014/main" id="{8D04D8CA-48E7-6EC1-8653-B209169BB4BA}"/>
                    </a:ext>
                  </a:extLst>
                </p:cNvPr>
                <p:cNvPicPr/>
                <p:nvPr/>
              </p:nvPicPr>
              <p:blipFill>
                <a:blip r:embed="rId334"/>
                <a:stretch>
                  <a:fillRect/>
                </a:stretch>
              </p:blipFill>
              <p:spPr>
                <a:xfrm>
                  <a:off x="10073923" y="2719575"/>
                  <a:ext cx="218160" cy="7956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17" name="Gruppieren 316">
            <a:extLst>
              <a:ext uri="{FF2B5EF4-FFF2-40B4-BE49-F238E27FC236}">
                <a16:creationId xmlns:a16="http://schemas.microsoft.com/office/drawing/2014/main" id="{40FF9D20-7A7F-87D8-F13A-226E96F08DFC}"/>
              </a:ext>
            </a:extLst>
          </p:cNvPr>
          <p:cNvGrpSpPr/>
          <p:nvPr/>
        </p:nvGrpSpPr>
        <p:grpSpPr>
          <a:xfrm>
            <a:off x="10820322" y="4970492"/>
            <a:ext cx="704160" cy="581040"/>
            <a:chOff x="9300805" y="3648198"/>
            <a:chExt cx="704160" cy="5810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335">
              <p14:nvContentPartPr>
                <p14:cNvPr id="314" name="Freihand 313">
                  <a:extLst>
                    <a:ext uri="{FF2B5EF4-FFF2-40B4-BE49-F238E27FC236}">
                      <a16:creationId xmlns:a16="http://schemas.microsoft.com/office/drawing/2014/main" id="{6DFBD65B-698F-8A09-5A81-017B7EF9A7A5}"/>
                    </a:ext>
                  </a:extLst>
                </p14:cNvPr>
                <p14:cNvContentPartPr/>
                <p14:nvPr/>
              </p14:nvContentPartPr>
              <p14:xfrm>
                <a:off x="9380725" y="3719838"/>
                <a:ext cx="28440" cy="496440"/>
              </p14:xfrm>
            </p:contentPart>
          </mc:Choice>
          <mc:Fallback>
            <p:pic>
              <p:nvPicPr>
                <p:cNvPr id="314" name="Freihand 313">
                  <a:extLst>
                    <a:ext uri="{FF2B5EF4-FFF2-40B4-BE49-F238E27FC236}">
                      <a16:creationId xmlns:a16="http://schemas.microsoft.com/office/drawing/2014/main" id="{6DFBD65B-698F-8A09-5A81-017B7EF9A7A5}"/>
                    </a:ext>
                  </a:extLst>
                </p:cNvPr>
                <p:cNvPicPr/>
                <p:nvPr/>
              </p:nvPicPr>
              <p:blipFill>
                <a:blip r:embed="rId336"/>
                <a:stretch>
                  <a:fillRect/>
                </a:stretch>
              </p:blipFill>
              <p:spPr>
                <a:xfrm>
                  <a:off x="9363085" y="3701838"/>
                  <a:ext cx="64080" cy="532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7">
              <p14:nvContentPartPr>
                <p14:cNvPr id="315" name="Freihand 314">
                  <a:extLst>
                    <a:ext uri="{FF2B5EF4-FFF2-40B4-BE49-F238E27FC236}">
                      <a16:creationId xmlns:a16="http://schemas.microsoft.com/office/drawing/2014/main" id="{C3BF5FA3-4E7D-33D6-3DE0-89C760F19AA9}"/>
                    </a:ext>
                  </a:extLst>
                </p14:cNvPr>
                <p14:cNvContentPartPr/>
                <p14:nvPr/>
              </p14:nvContentPartPr>
              <p14:xfrm>
                <a:off x="9300805" y="3648198"/>
                <a:ext cx="695520" cy="581040"/>
              </p14:xfrm>
            </p:contentPart>
          </mc:Choice>
          <mc:Fallback>
            <p:pic>
              <p:nvPicPr>
                <p:cNvPr id="315" name="Freihand 314">
                  <a:extLst>
                    <a:ext uri="{FF2B5EF4-FFF2-40B4-BE49-F238E27FC236}">
                      <a16:creationId xmlns:a16="http://schemas.microsoft.com/office/drawing/2014/main" id="{C3BF5FA3-4E7D-33D6-3DE0-89C760F19AA9}"/>
                    </a:ext>
                  </a:extLst>
                </p:cNvPr>
                <p:cNvPicPr/>
                <p:nvPr/>
              </p:nvPicPr>
              <p:blipFill>
                <a:blip r:embed="rId338"/>
                <a:stretch>
                  <a:fillRect/>
                </a:stretch>
              </p:blipFill>
              <p:spPr>
                <a:xfrm>
                  <a:off x="9282805" y="3630558"/>
                  <a:ext cx="731160" cy="616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339">
              <p14:nvContentPartPr>
                <p14:cNvPr id="316" name="Freihand 315">
                  <a:extLst>
                    <a:ext uri="{FF2B5EF4-FFF2-40B4-BE49-F238E27FC236}">
                      <a16:creationId xmlns:a16="http://schemas.microsoft.com/office/drawing/2014/main" id="{7794D10A-F3F2-E737-85F0-A6C1CE465F44}"/>
                    </a:ext>
                  </a:extLst>
                </p14:cNvPr>
                <p14:cNvContentPartPr/>
                <p14:nvPr/>
              </p14:nvContentPartPr>
              <p14:xfrm>
                <a:off x="9387205" y="4164078"/>
                <a:ext cx="617760" cy="32760"/>
              </p14:xfrm>
            </p:contentPart>
          </mc:Choice>
          <mc:Fallback>
            <p:pic>
              <p:nvPicPr>
                <p:cNvPr id="316" name="Freihand 315">
                  <a:extLst>
                    <a:ext uri="{FF2B5EF4-FFF2-40B4-BE49-F238E27FC236}">
                      <a16:creationId xmlns:a16="http://schemas.microsoft.com/office/drawing/2014/main" id="{7794D10A-F3F2-E737-85F0-A6C1CE465F44}"/>
                    </a:ext>
                  </a:extLst>
                </p:cNvPr>
                <p:cNvPicPr/>
                <p:nvPr/>
              </p:nvPicPr>
              <p:blipFill>
                <a:blip r:embed="rId340"/>
                <a:stretch>
                  <a:fillRect/>
                </a:stretch>
              </p:blipFill>
              <p:spPr>
                <a:xfrm>
                  <a:off x="9369565" y="4146438"/>
                  <a:ext cx="653400" cy="684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561065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Breitbild</PresentationFormat>
  <Paragraphs>0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</vt:lpstr>
      <vt:lpstr>think-cell Foli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hong Dong</dc:creator>
  <cp:lastModifiedBy>Phong Dong</cp:lastModifiedBy>
  <cp:revision>2</cp:revision>
  <dcterms:created xsi:type="dcterms:W3CDTF">2024-04-05T11:22:25Z</dcterms:created>
  <dcterms:modified xsi:type="dcterms:W3CDTF">2024-04-05T11:41:30Z</dcterms:modified>
</cp:coreProperties>
</file>